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340" r:id="rId5"/>
    <p:sldId id="414" r:id="rId6"/>
    <p:sldId id="415" r:id="rId7"/>
    <p:sldId id="416" r:id="rId8"/>
  </p:sldIdLst>
  <p:sldSz cx="12192000" cy="6858000"/>
  <p:notesSz cx="7010400" cy="9296400"/>
  <p:custDataLst>
    <p:tags r:id="rId11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Deloitte Consulting" initials="DC" lastIdx="5" clrIdx="1">
    <p:extLst>
      <p:ext uri="{19B8F6BF-5375-455C-9EA6-DF929625EA0E}">
        <p15:presenceInfo xmlns:p15="http://schemas.microsoft.com/office/powerpoint/2012/main" userId="Deloitte Consulting" providerId="None"/>
      </p:ext>
    </p:extLst>
  </p:cmAuthor>
  <p:cmAuthor id="3" name="Wheeler, Kent" initials="KW" lastIdx="14" clrIdx="2">
    <p:extLst>
      <p:ext uri="{19B8F6BF-5375-455C-9EA6-DF929625EA0E}">
        <p15:presenceInfo xmlns:p15="http://schemas.microsoft.com/office/powerpoint/2012/main" userId="Wheeler, Kent" providerId="None"/>
      </p:ext>
    </p:extLst>
  </p:cmAuthor>
  <p:cmAuthor id="5" name="Klein, Guillermo Carlos (LATCO - Buenos Aires)" initials="KGC(-BA" lastIdx="4" clrIdx="4">
    <p:extLst>
      <p:ext uri="{19B8F6BF-5375-455C-9EA6-DF929625EA0E}">
        <p15:presenceInfo xmlns:p15="http://schemas.microsoft.com/office/powerpoint/2012/main" userId="S-1-5-21-57989841-1897051121-725345543-2404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AADB"/>
    <a:srgbClr val="FCBF49"/>
    <a:srgbClr val="002868"/>
    <a:srgbClr val="000000"/>
    <a:srgbClr val="FFCD00"/>
    <a:srgbClr val="ED8B00"/>
    <a:srgbClr val="DB291C"/>
    <a:srgbClr val="FF9900"/>
    <a:srgbClr val="C00000"/>
    <a:srgbClr val="3C8A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34" autoAdjust="0"/>
    <p:restoredTop sz="93624" autoAdjust="0"/>
  </p:normalViewPr>
  <p:slideViewPr>
    <p:cSldViewPr snapToGrid="0" showGuides="1">
      <p:cViewPr varScale="1">
        <p:scale>
          <a:sx n="75" d="100"/>
          <a:sy n="75" d="100"/>
        </p:scale>
        <p:origin x="582" y="54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784" y="1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3/06/2017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830644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830644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3/06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23" tIns="47461" rIns="94923" bIns="4746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4923" tIns="47461" rIns="94923" bIns="4746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836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baseline="0" dirty="0" smtClean="0"/>
          </a:p>
          <a:p>
            <a:endParaRPr lang="es-AR" baseline="0" dirty="0" smtClean="0"/>
          </a:p>
          <a:p>
            <a:endParaRPr lang="es-A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718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147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460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gradFill>
          <a:gsLst>
            <a:gs pos="0">
              <a:schemeClr val="tx1"/>
            </a:gs>
            <a:gs pos="100000">
              <a:schemeClr val="tx1">
                <a:lumMod val="85000"/>
                <a:lumOff val="1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2097102"/>
            <a:ext cx="9029604" cy="4667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200" b="1">
                <a:solidFill>
                  <a:schemeClr val="bg1"/>
                </a:solidFill>
              </a:defRPr>
            </a:lvl1pPr>
            <a:lvl2pPr marL="0" indent="0">
              <a:buNone/>
              <a:defRPr sz="3200" b="1">
                <a:solidFill>
                  <a:schemeClr val="bg1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Responsive City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14400" y="2944827"/>
            <a:ext cx="9042400" cy="2693973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109728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48236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2431099"/>
            <a:ext cx="3600000" cy="392112"/>
          </a:xfrm>
          <a:solidFill>
            <a:schemeClr val="accent1"/>
          </a:solidFill>
        </p:spPr>
        <p:txBody>
          <a:bodyPr lIns="91440" anchor="ctr" anchorCtr="0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2431098"/>
            <a:ext cx="3600000" cy="392112"/>
          </a:xfrm>
          <a:solidFill>
            <a:schemeClr val="accent1"/>
          </a:solidFill>
        </p:spPr>
        <p:txBody>
          <a:bodyPr lIns="91440" anchor="ctr" anchorCtr="0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2424955"/>
            <a:ext cx="3600000" cy="398256"/>
          </a:xfrm>
          <a:solidFill>
            <a:schemeClr val="accent1"/>
          </a:solidFill>
        </p:spPr>
        <p:txBody>
          <a:bodyPr lIns="91440" anchor="ctr" anchorCtr="0"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quarter" idx="23"/>
          </p:nvPr>
        </p:nvSpPr>
        <p:spPr>
          <a:xfrm>
            <a:off x="468313" y="2884045"/>
            <a:ext cx="3600450" cy="157734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quarter" idx="24"/>
          </p:nvPr>
        </p:nvSpPr>
        <p:spPr>
          <a:xfrm>
            <a:off x="4296003" y="2884045"/>
            <a:ext cx="3600450" cy="157734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1" name="Content Placeholder 2"/>
          <p:cNvSpPr>
            <a:spLocks noGrp="1"/>
          </p:cNvSpPr>
          <p:nvPr>
            <p:ph sz="quarter" idx="25"/>
          </p:nvPr>
        </p:nvSpPr>
        <p:spPr>
          <a:xfrm>
            <a:off x="8123693" y="2884045"/>
            <a:ext cx="3600450" cy="157734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36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gradFill flip="none" rotWithShape="1">
          <a:gsLst>
            <a:gs pos="0">
              <a:schemeClr val="accent6">
                <a:lumMod val="50000"/>
              </a:schemeClr>
            </a:gs>
            <a:gs pos="100000">
              <a:schemeClr val="accent6">
                <a:lumMod val="75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</a:t>
            </a:r>
            <a:r>
              <a:rPr lang="en-US" sz="650" noProof="0" dirty="0" smtClean="0">
                <a:solidFill>
                  <a:schemeClr val="bg1"/>
                </a:solidFill>
              </a:rPr>
              <a:t>Slide master1]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69900" y="329462"/>
            <a:ext cx="11252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532450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CA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0" y="1665288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CA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44476" y="6488543"/>
            <a:ext cx="145874" cy="100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1E9AC943-1D55-41E9-B3B5-6F4EACFB7EA8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99962448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Responsive City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Responsive City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Responsive City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Responsive City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Responsive City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 smtClean="0">
                <a:solidFill>
                  <a:schemeClr val="tx1"/>
                </a:solidFill>
                <a:latin typeface="+mn-lt"/>
              </a:rPr>
              <a:t>Copyright © 2017 Deloitte Development LLC. All rights reserved.</a:t>
            </a:r>
            <a:endParaRPr lang="en-US" sz="650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11" r:id="rId11"/>
    <p:sldLayoutId id="2147483753" r:id="rId12"/>
    <p:sldLayoutId id="2147483679" r:id="rId13"/>
    <p:sldLayoutId id="2147483712" r:id="rId14"/>
    <p:sldLayoutId id="2147483678" r:id="rId15"/>
    <p:sldLayoutId id="2147483681" r:id="rId16"/>
    <p:sldLayoutId id="2147483757" r:id="rId17"/>
    <p:sldLayoutId id="2147483735" r:id="rId18"/>
    <p:sldLayoutId id="2147483699" r:id="rId19"/>
    <p:sldLayoutId id="2147483714" r:id="rId20"/>
    <p:sldLayoutId id="2147483718" r:id="rId21"/>
    <p:sldLayoutId id="2147483715" r:id="rId22"/>
    <p:sldLayoutId id="2147483716" r:id="rId23"/>
    <p:sldLayoutId id="2147483717" r:id="rId24"/>
    <p:sldLayoutId id="2147483728" r:id="rId25"/>
    <p:sldLayoutId id="2147483720" r:id="rId26"/>
    <p:sldLayoutId id="2147483722" r:id="rId27"/>
    <p:sldLayoutId id="2147483695" r:id="rId28"/>
    <p:sldLayoutId id="2147483751" r:id="rId29"/>
    <p:sldLayoutId id="2147483725" r:id="rId30"/>
    <p:sldLayoutId id="2147483726" r:id="rId31"/>
    <p:sldLayoutId id="2147483727" r:id="rId32"/>
    <p:sldLayoutId id="2147483698" r:id="rId33"/>
    <p:sldLayoutId id="2147483752" r:id="rId34"/>
    <p:sldLayoutId id="2147483696" r:id="rId35"/>
    <p:sldLayoutId id="2147483759" r:id="rId36"/>
    <p:sldLayoutId id="2147483758" r:id="rId37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21917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4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42888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42888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hyperlink" Target="http://hanaed1.gba.gob.ar:8000/sap/hana/xs/formLogin/login.html?x-sap-origin-location=/sigpim_dev/public/#!/home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742148"/>
            <a:ext cx="5592011" cy="505645"/>
          </a:xfrm>
        </p:spPr>
        <p:txBody>
          <a:bodyPr/>
          <a:lstStyle/>
          <a:p>
            <a:r>
              <a:rPr lang="es-AR" dirty="0"/>
              <a:t>Visualización y análisis de datos</a:t>
            </a:r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dirty="0" err="1" smtClean="0"/>
              <a:t>Junio</a:t>
            </a:r>
            <a:r>
              <a:rPr lang="en-US" noProof="0" dirty="0" smtClean="0"/>
              <a:t>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7034486" cy="757255"/>
          </a:xfrm>
        </p:spPr>
        <p:txBody>
          <a:bodyPr/>
          <a:lstStyle/>
          <a:p>
            <a:r>
              <a:rPr lang="en-AU" dirty="0" smtClean="0"/>
              <a:t>Lo que se </a:t>
            </a:r>
            <a:r>
              <a:rPr lang="en-AU" dirty="0" err="1" smtClean="0"/>
              <a:t>busca</a:t>
            </a: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Visualización</a:t>
            </a:r>
            <a:endParaRPr lang="es-AR" dirty="0"/>
          </a:p>
        </p:txBody>
      </p:sp>
      <p:pic>
        <p:nvPicPr>
          <p:cNvPr id="4" name="Picture 2" descr="http://mockuphone.com/upload/4b50aac25e57a1106de3faa915ae85e0/macbookpro15/macbookpro15_fron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2065" y="4303988"/>
            <a:ext cx="228600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6388" y="1014715"/>
            <a:ext cx="1957355" cy="19573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065" y="2495029"/>
            <a:ext cx="2286000" cy="2286000"/>
          </a:xfrm>
          <a:prstGeom prst="rect">
            <a:avLst/>
          </a:prstGeom>
        </p:spPr>
      </p:pic>
      <p:sp>
        <p:nvSpPr>
          <p:cNvPr id="11" name="Text Placeholder 1"/>
          <p:cNvSpPr txBox="1">
            <a:spLocks/>
          </p:cNvSpPr>
          <p:nvPr/>
        </p:nvSpPr>
        <p:spPr>
          <a:xfrm>
            <a:off x="10224677" y="645392"/>
            <a:ext cx="1377473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14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3" indent="-242888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5" indent="-220663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242888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AU" dirty="0" err="1" smtClean="0"/>
              <a:t>Tableros</a:t>
            </a:r>
            <a:r>
              <a:rPr lang="en-AU" dirty="0" smtClean="0"/>
              <a:t> </a:t>
            </a:r>
            <a:r>
              <a:rPr lang="en-AU" dirty="0" err="1" smtClean="0"/>
              <a:t>Modelo</a:t>
            </a:r>
            <a:endParaRPr lang="en-AU" dirty="0"/>
          </a:p>
        </p:txBody>
      </p:sp>
      <p:sp>
        <p:nvSpPr>
          <p:cNvPr id="14" name="Rectangle 13"/>
          <p:cNvSpPr/>
          <p:nvPr/>
        </p:nvSpPr>
        <p:spPr>
          <a:xfrm>
            <a:off x="8153087" y="1471891"/>
            <a:ext cx="1504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b="1" dirty="0" err="1" smtClean="0">
                <a:solidFill>
                  <a:schemeClr val="accent5">
                    <a:lumMod val="75000"/>
                  </a:schemeClr>
                </a:solidFill>
              </a:rPr>
              <a:t>Foco</a:t>
            </a:r>
            <a:r>
              <a:rPr lang="en-US" sz="1600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1600" b="1" dirty="0" err="1" smtClean="0">
                <a:solidFill>
                  <a:schemeClr val="accent5">
                    <a:lumMod val="75000"/>
                  </a:schemeClr>
                </a:solidFill>
              </a:rPr>
              <a:t>en</a:t>
            </a:r>
            <a:r>
              <a:rPr lang="en-US" sz="1600" b="1" dirty="0" smtClean="0">
                <a:solidFill>
                  <a:schemeClr val="accent5">
                    <a:lumMod val="75000"/>
                  </a:schemeClr>
                </a:solidFill>
              </a:rPr>
              <a:t> UX</a:t>
            </a:r>
            <a:endParaRPr lang="en-US" sz="1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155394" y="2668972"/>
            <a:ext cx="15193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AR" sz="1600" b="1" dirty="0" smtClean="0">
                <a:solidFill>
                  <a:srgbClr val="86BC25"/>
                </a:solidFill>
              </a:rPr>
              <a:t>Interactiva</a:t>
            </a:r>
            <a:endParaRPr lang="es-AR" sz="1600" b="1" dirty="0">
              <a:solidFill>
                <a:srgbClr val="86BC25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153087" y="3888287"/>
            <a:ext cx="133093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b="1" dirty="0" smtClean="0">
                <a:solidFill>
                  <a:srgbClr val="75787B"/>
                </a:solidFill>
              </a:rPr>
              <a:t>Simple</a:t>
            </a:r>
            <a:endParaRPr lang="en-US" sz="1600" b="1" dirty="0">
              <a:solidFill>
                <a:srgbClr val="75787B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8153087" y="5090706"/>
            <a:ext cx="22166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600" b="1" dirty="0" smtClean="0">
                <a:solidFill>
                  <a:srgbClr val="00ABAB"/>
                </a:solidFill>
              </a:rPr>
              <a:t>Responsive</a:t>
            </a:r>
          </a:p>
        </p:txBody>
      </p:sp>
      <p:grpSp>
        <p:nvGrpSpPr>
          <p:cNvPr id="37" name="Group 862"/>
          <p:cNvGrpSpPr>
            <a:grpSpLocks noChangeAspect="1"/>
          </p:cNvGrpSpPr>
          <p:nvPr/>
        </p:nvGrpSpPr>
        <p:grpSpPr bwMode="auto">
          <a:xfrm>
            <a:off x="7142586" y="2439830"/>
            <a:ext cx="859639" cy="862166"/>
            <a:chOff x="6607" y="3441"/>
            <a:chExt cx="340" cy="341"/>
          </a:xfrm>
          <a:solidFill>
            <a:srgbClr val="86BC25"/>
          </a:solidFill>
        </p:grpSpPr>
        <p:sp>
          <p:nvSpPr>
            <p:cNvPr id="38" name="Freeform 863"/>
            <p:cNvSpPr>
              <a:spLocks noEditPoints="1"/>
            </p:cNvSpPr>
            <p:nvPr/>
          </p:nvSpPr>
          <p:spPr bwMode="auto">
            <a:xfrm>
              <a:off x="6607" y="344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39" name="Freeform 864"/>
            <p:cNvSpPr>
              <a:spLocks noEditPoints="1"/>
            </p:cNvSpPr>
            <p:nvPr/>
          </p:nvSpPr>
          <p:spPr bwMode="auto">
            <a:xfrm>
              <a:off x="6671" y="3519"/>
              <a:ext cx="198" cy="184"/>
            </a:xfrm>
            <a:custGeom>
              <a:avLst/>
              <a:gdLst>
                <a:gd name="T0" fmla="*/ 256 w 298"/>
                <a:gd name="T1" fmla="*/ 192 h 277"/>
                <a:gd name="T2" fmla="*/ 223 w 298"/>
                <a:gd name="T3" fmla="*/ 208 h 277"/>
                <a:gd name="T4" fmla="*/ 84 w 298"/>
                <a:gd name="T5" fmla="*/ 146 h 277"/>
                <a:gd name="T6" fmla="*/ 85 w 298"/>
                <a:gd name="T7" fmla="*/ 139 h 277"/>
                <a:gd name="T8" fmla="*/ 84 w 298"/>
                <a:gd name="T9" fmla="*/ 131 h 277"/>
                <a:gd name="T10" fmla="*/ 223 w 298"/>
                <a:gd name="T11" fmla="*/ 69 h 277"/>
                <a:gd name="T12" fmla="*/ 256 w 298"/>
                <a:gd name="T13" fmla="*/ 85 h 277"/>
                <a:gd name="T14" fmla="*/ 298 w 298"/>
                <a:gd name="T15" fmla="*/ 43 h 277"/>
                <a:gd name="T16" fmla="*/ 256 w 298"/>
                <a:gd name="T17" fmla="*/ 0 h 277"/>
                <a:gd name="T18" fmla="*/ 213 w 298"/>
                <a:gd name="T19" fmla="*/ 43 h 277"/>
                <a:gd name="T20" fmla="*/ 214 w 298"/>
                <a:gd name="T21" fmla="*/ 50 h 277"/>
                <a:gd name="T22" fmla="*/ 75 w 298"/>
                <a:gd name="T23" fmla="*/ 112 h 277"/>
                <a:gd name="T24" fmla="*/ 42 w 298"/>
                <a:gd name="T25" fmla="*/ 96 h 277"/>
                <a:gd name="T26" fmla="*/ 0 w 298"/>
                <a:gd name="T27" fmla="*/ 139 h 277"/>
                <a:gd name="T28" fmla="*/ 42 w 298"/>
                <a:gd name="T29" fmla="*/ 181 h 277"/>
                <a:gd name="T30" fmla="*/ 75 w 298"/>
                <a:gd name="T31" fmla="*/ 165 h 277"/>
                <a:gd name="T32" fmla="*/ 214 w 298"/>
                <a:gd name="T33" fmla="*/ 227 h 277"/>
                <a:gd name="T34" fmla="*/ 213 w 298"/>
                <a:gd name="T35" fmla="*/ 235 h 277"/>
                <a:gd name="T36" fmla="*/ 256 w 298"/>
                <a:gd name="T37" fmla="*/ 277 h 277"/>
                <a:gd name="T38" fmla="*/ 298 w 298"/>
                <a:gd name="T39" fmla="*/ 235 h 277"/>
                <a:gd name="T40" fmla="*/ 256 w 298"/>
                <a:gd name="T41" fmla="*/ 192 h 277"/>
                <a:gd name="T42" fmla="*/ 256 w 298"/>
                <a:gd name="T43" fmla="*/ 21 h 277"/>
                <a:gd name="T44" fmla="*/ 277 w 298"/>
                <a:gd name="T45" fmla="*/ 43 h 277"/>
                <a:gd name="T46" fmla="*/ 256 w 298"/>
                <a:gd name="T47" fmla="*/ 64 h 277"/>
                <a:gd name="T48" fmla="*/ 234 w 298"/>
                <a:gd name="T49" fmla="*/ 43 h 277"/>
                <a:gd name="T50" fmla="*/ 256 w 298"/>
                <a:gd name="T51" fmla="*/ 21 h 277"/>
                <a:gd name="T52" fmla="*/ 42 w 298"/>
                <a:gd name="T53" fmla="*/ 160 h 277"/>
                <a:gd name="T54" fmla="*/ 21 w 298"/>
                <a:gd name="T55" fmla="*/ 139 h 277"/>
                <a:gd name="T56" fmla="*/ 42 w 298"/>
                <a:gd name="T57" fmla="*/ 117 h 277"/>
                <a:gd name="T58" fmla="*/ 64 w 298"/>
                <a:gd name="T59" fmla="*/ 139 h 277"/>
                <a:gd name="T60" fmla="*/ 42 w 298"/>
                <a:gd name="T61" fmla="*/ 160 h 277"/>
                <a:gd name="T62" fmla="*/ 256 w 298"/>
                <a:gd name="T63" fmla="*/ 256 h 277"/>
                <a:gd name="T64" fmla="*/ 234 w 298"/>
                <a:gd name="T65" fmla="*/ 235 h 277"/>
                <a:gd name="T66" fmla="*/ 256 w 298"/>
                <a:gd name="T67" fmla="*/ 213 h 277"/>
                <a:gd name="T68" fmla="*/ 277 w 298"/>
                <a:gd name="T69" fmla="*/ 235 h 277"/>
                <a:gd name="T70" fmla="*/ 256 w 298"/>
                <a:gd name="T71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8" h="277">
                  <a:moveTo>
                    <a:pt x="256" y="192"/>
                  </a:moveTo>
                  <a:cubicBezTo>
                    <a:pt x="242" y="192"/>
                    <a:pt x="230" y="198"/>
                    <a:pt x="223" y="208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5" y="143"/>
                    <a:pt x="85" y="141"/>
                    <a:pt x="85" y="139"/>
                  </a:cubicBezTo>
                  <a:cubicBezTo>
                    <a:pt x="85" y="136"/>
                    <a:pt x="85" y="134"/>
                    <a:pt x="84" y="131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30" y="79"/>
                    <a:pt x="242" y="85"/>
                    <a:pt x="256" y="85"/>
                  </a:cubicBezTo>
                  <a:cubicBezTo>
                    <a:pt x="279" y="85"/>
                    <a:pt x="298" y="66"/>
                    <a:pt x="298" y="43"/>
                  </a:cubicBezTo>
                  <a:cubicBezTo>
                    <a:pt x="298" y="19"/>
                    <a:pt x="279" y="0"/>
                    <a:pt x="256" y="0"/>
                  </a:cubicBezTo>
                  <a:cubicBezTo>
                    <a:pt x="232" y="0"/>
                    <a:pt x="213" y="19"/>
                    <a:pt x="213" y="43"/>
                  </a:cubicBezTo>
                  <a:cubicBezTo>
                    <a:pt x="213" y="45"/>
                    <a:pt x="213" y="48"/>
                    <a:pt x="214" y="50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68" y="102"/>
                    <a:pt x="56" y="96"/>
                    <a:pt x="42" y="96"/>
                  </a:cubicBezTo>
                  <a:cubicBezTo>
                    <a:pt x="19" y="96"/>
                    <a:pt x="0" y="115"/>
                    <a:pt x="0" y="139"/>
                  </a:cubicBezTo>
                  <a:cubicBezTo>
                    <a:pt x="0" y="162"/>
                    <a:pt x="19" y="181"/>
                    <a:pt x="42" y="181"/>
                  </a:cubicBezTo>
                  <a:cubicBezTo>
                    <a:pt x="56" y="181"/>
                    <a:pt x="68" y="175"/>
                    <a:pt x="75" y="165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30"/>
                    <a:pt x="213" y="232"/>
                    <a:pt x="213" y="235"/>
                  </a:cubicBezTo>
                  <a:cubicBezTo>
                    <a:pt x="213" y="258"/>
                    <a:pt x="232" y="277"/>
                    <a:pt x="256" y="277"/>
                  </a:cubicBezTo>
                  <a:cubicBezTo>
                    <a:pt x="279" y="277"/>
                    <a:pt x="298" y="258"/>
                    <a:pt x="298" y="235"/>
                  </a:cubicBezTo>
                  <a:cubicBezTo>
                    <a:pt x="298" y="211"/>
                    <a:pt x="279" y="192"/>
                    <a:pt x="256" y="192"/>
                  </a:cubicBezTo>
                  <a:close/>
                  <a:moveTo>
                    <a:pt x="256" y="21"/>
                  </a:moveTo>
                  <a:cubicBezTo>
                    <a:pt x="267" y="21"/>
                    <a:pt x="277" y="31"/>
                    <a:pt x="277" y="43"/>
                  </a:cubicBezTo>
                  <a:cubicBezTo>
                    <a:pt x="277" y="54"/>
                    <a:pt x="267" y="64"/>
                    <a:pt x="256" y="64"/>
                  </a:cubicBezTo>
                  <a:cubicBezTo>
                    <a:pt x="244" y="64"/>
                    <a:pt x="234" y="54"/>
                    <a:pt x="234" y="43"/>
                  </a:cubicBezTo>
                  <a:cubicBezTo>
                    <a:pt x="234" y="31"/>
                    <a:pt x="244" y="21"/>
                    <a:pt x="256" y="21"/>
                  </a:cubicBezTo>
                  <a:close/>
                  <a:moveTo>
                    <a:pt x="42" y="160"/>
                  </a:moveTo>
                  <a:cubicBezTo>
                    <a:pt x="31" y="160"/>
                    <a:pt x="21" y="150"/>
                    <a:pt x="21" y="139"/>
                  </a:cubicBezTo>
                  <a:cubicBezTo>
                    <a:pt x="21" y="127"/>
                    <a:pt x="31" y="117"/>
                    <a:pt x="42" y="117"/>
                  </a:cubicBezTo>
                  <a:cubicBezTo>
                    <a:pt x="54" y="117"/>
                    <a:pt x="64" y="127"/>
                    <a:pt x="64" y="139"/>
                  </a:cubicBezTo>
                  <a:cubicBezTo>
                    <a:pt x="64" y="150"/>
                    <a:pt x="54" y="160"/>
                    <a:pt x="42" y="160"/>
                  </a:cubicBezTo>
                  <a:close/>
                  <a:moveTo>
                    <a:pt x="256" y="256"/>
                  </a:moveTo>
                  <a:cubicBezTo>
                    <a:pt x="244" y="256"/>
                    <a:pt x="234" y="246"/>
                    <a:pt x="234" y="235"/>
                  </a:cubicBezTo>
                  <a:cubicBezTo>
                    <a:pt x="234" y="223"/>
                    <a:pt x="244" y="213"/>
                    <a:pt x="256" y="213"/>
                  </a:cubicBezTo>
                  <a:cubicBezTo>
                    <a:pt x="267" y="213"/>
                    <a:pt x="277" y="223"/>
                    <a:pt x="277" y="235"/>
                  </a:cubicBezTo>
                  <a:cubicBezTo>
                    <a:pt x="277" y="246"/>
                    <a:pt x="267" y="256"/>
                    <a:pt x="256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</p:grpSp>
      <p:grpSp>
        <p:nvGrpSpPr>
          <p:cNvPr id="40" name="Group 35"/>
          <p:cNvGrpSpPr>
            <a:grpSpLocks noChangeAspect="1"/>
          </p:cNvGrpSpPr>
          <p:nvPr/>
        </p:nvGrpSpPr>
        <p:grpSpPr bwMode="auto">
          <a:xfrm>
            <a:off x="7166425" y="3638029"/>
            <a:ext cx="862166" cy="862166"/>
            <a:chOff x="2709" y="6"/>
            <a:chExt cx="340" cy="340"/>
          </a:xfrm>
          <a:solidFill>
            <a:srgbClr val="63666A"/>
          </a:solidFill>
        </p:grpSpPr>
        <p:sp>
          <p:nvSpPr>
            <p:cNvPr id="41" name="Freeform 36"/>
            <p:cNvSpPr>
              <a:spLocks noEditPoints="1"/>
            </p:cNvSpPr>
            <p:nvPr/>
          </p:nvSpPr>
          <p:spPr bwMode="auto">
            <a:xfrm>
              <a:off x="2779" y="84"/>
              <a:ext cx="71" cy="92"/>
            </a:xfrm>
            <a:custGeom>
              <a:avLst/>
              <a:gdLst>
                <a:gd name="T0" fmla="*/ 54 w 107"/>
                <a:gd name="T1" fmla="*/ 139 h 139"/>
                <a:gd name="T2" fmla="*/ 61 w 107"/>
                <a:gd name="T3" fmla="*/ 136 h 139"/>
                <a:gd name="T4" fmla="*/ 107 w 107"/>
                <a:gd name="T5" fmla="*/ 53 h 139"/>
                <a:gd name="T6" fmla="*/ 54 w 107"/>
                <a:gd name="T7" fmla="*/ 0 h 139"/>
                <a:gd name="T8" fmla="*/ 0 w 107"/>
                <a:gd name="T9" fmla="*/ 53 h 139"/>
                <a:gd name="T10" fmla="*/ 46 w 107"/>
                <a:gd name="T11" fmla="*/ 136 h 139"/>
                <a:gd name="T12" fmla="*/ 54 w 107"/>
                <a:gd name="T13" fmla="*/ 139 h 139"/>
                <a:gd name="T14" fmla="*/ 54 w 107"/>
                <a:gd name="T15" fmla="*/ 21 h 139"/>
                <a:gd name="T16" fmla="*/ 86 w 107"/>
                <a:gd name="T17" fmla="*/ 53 h 139"/>
                <a:gd name="T18" fmla="*/ 54 w 107"/>
                <a:gd name="T19" fmla="*/ 113 h 139"/>
                <a:gd name="T20" fmla="*/ 22 w 107"/>
                <a:gd name="T21" fmla="*/ 53 h 139"/>
                <a:gd name="T22" fmla="*/ 54 w 107"/>
                <a:gd name="T23" fmla="*/ 2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139">
                  <a:moveTo>
                    <a:pt x="54" y="139"/>
                  </a:moveTo>
                  <a:cubicBezTo>
                    <a:pt x="56" y="139"/>
                    <a:pt x="59" y="138"/>
                    <a:pt x="61" y="136"/>
                  </a:cubicBezTo>
                  <a:cubicBezTo>
                    <a:pt x="107" y="90"/>
                    <a:pt x="107" y="55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cubicBezTo>
                    <a:pt x="24" y="0"/>
                    <a:pt x="0" y="24"/>
                    <a:pt x="0" y="53"/>
                  </a:cubicBezTo>
                  <a:cubicBezTo>
                    <a:pt x="0" y="55"/>
                    <a:pt x="0" y="90"/>
                    <a:pt x="46" y="136"/>
                  </a:cubicBezTo>
                  <a:cubicBezTo>
                    <a:pt x="48" y="138"/>
                    <a:pt x="51" y="139"/>
                    <a:pt x="54" y="139"/>
                  </a:cubicBezTo>
                  <a:close/>
                  <a:moveTo>
                    <a:pt x="54" y="21"/>
                  </a:moveTo>
                  <a:cubicBezTo>
                    <a:pt x="71" y="21"/>
                    <a:pt x="86" y="36"/>
                    <a:pt x="86" y="53"/>
                  </a:cubicBezTo>
                  <a:cubicBezTo>
                    <a:pt x="86" y="54"/>
                    <a:pt x="85" y="78"/>
                    <a:pt x="54" y="113"/>
                  </a:cubicBezTo>
                  <a:cubicBezTo>
                    <a:pt x="23" y="78"/>
                    <a:pt x="22" y="54"/>
                    <a:pt x="22" y="53"/>
                  </a:cubicBezTo>
                  <a:cubicBezTo>
                    <a:pt x="22" y="36"/>
                    <a:pt x="36" y="21"/>
                    <a:pt x="54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42" name="Oval 37"/>
            <p:cNvSpPr>
              <a:spLocks noChangeArrowheads="1"/>
            </p:cNvSpPr>
            <p:nvPr/>
          </p:nvSpPr>
          <p:spPr bwMode="auto">
            <a:xfrm>
              <a:off x="2808" y="112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43" name="Freeform 38"/>
            <p:cNvSpPr>
              <a:spLocks noEditPoints="1"/>
            </p:cNvSpPr>
            <p:nvPr/>
          </p:nvSpPr>
          <p:spPr bwMode="auto">
            <a:xfrm>
              <a:off x="2808" y="105"/>
              <a:ext cx="170" cy="170"/>
            </a:xfrm>
            <a:custGeom>
              <a:avLst/>
              <a:gdLst>
                <a:gd name="T0" fmla="*/ 128 w 256"/>
                <a:gd name="T1" fmla="*/ 0 h 256"/>
                <a:gd name="T2" fmla="*/ 93 w 256"/>
                <a:gd name="T3" fmla="*/ 5 h 256"/>
                <a:gd name="T4" fmla="*/ 86 w 256"/>
                <a:gd name="T5" fmla="*/ 18 h 256"/>
                <a:gd name="T6" fmla="*/ 94 w 256"/>
                <a:gd name="T7" fmla="*/ 25 h 256"/>
                <a:gd name="T8" fmla="*/ 78 w 256"/>
                <a:gd name="T9" fmla="*/ 75 h 256"/>
                <a:gd name="T10" fmla="*/ 75 w 256"/>
                <a:gd name="T11" fmla="*/ 75 h 256"/>
                <a:gd name="T12" fmla="*/ 64 w 256"/>
                <a:gd name="T13" fmla="*/ 85 h 256"/>
                <a:gd name="T14" fmla="*/ 75 w 256"/>
                <a:gd name="T15" fmla="*/ 96 h 256"/>
                <a:gd name="T16" fmla="*/ 75 w 256"/>
                <a:gd name="T17" fmla="*/ 96 h 256"/>
                <a:gd name="T18" fmla="*/ 73 w 256"/>
                <a:gd name="T19" fmla="*/ 128 h 256"/>
                <a:gd name="T20" fmla="*/ 75 w 256"/>
                <a:gd name="T21" fmla="*/ 160 h 256"/>
                <a:gd name="T22" fmla="*/ 26 w 256"/>
                <a:gd name="T23" fmla="*/ 160 h 256"/>
                <a:gd name="T24" fmla="*/ 22 w 256"/>
                <a:gd name="T25" fmla="*/ 138 h 256"/>
                <a:gd name="T26" fmla="*/ 10 w 256"/>
                <a:gd name="T27" fmla="*/ 128 h 256"/>
                <a:gd name="T28" fmla="*/ 1 w 256"/>
                <a:gd name="T29" fmla="*/ 140 h 256"/>
                <a:gd name="T30" fmla="*/ 128 w 256"/>
                <a:gd name="T31" fmla="*/ 256 h 256"/>
                <a:gd name="T32" fmla="*/ 256 w 256"/>
                <a:gd name="T33" fmla="*/ 128 h 256"/>
                <a:gd name="T34" fmla="*/ 128 w 256"/>
                <a:gd name="T35" fmla="*/ 0 h 256"/>
                <a:gd name="T36" fmla="*/ 36 w 256"/>
                <a:gd name="T37" fmla="*/ 181 h 256"/>
                <a:gd name="T38" fmla="*/ 78 w 256"/>
                <a:gd name="T39" fmla="*/ 181 h 256"/>
                <a:gd name="T40" fmla="*/ 93 w 256"/>
                <a:gd name="T41" fmla="*/ 229 h 256"/>
                <a:gd name="T42" fmla="*/ 36 w 256"/>
                <a:gd name="T43" fmla="*/ 181 h 256"/>
                <a:gd name="T44" fmla="*/ 220 w 256"/>
                <a:gd name="T45" fmla="*/ 75 h 256"/>
                <a:gd name="T46" fmla="*/ 178 w 256"/>
                <a:gd name="T47" fmla="*/ 75 h 256"/>
                <a:gd name="T48" fmla="*/ 163 w 256"/>
                <a:gd name="T49" fmla="*/ 27 h 256"/>
                <a:gd name="T50" fmla="*/ 220 w 256"/>
                <a:gd name="T51" fmla="*/ 75 h 256"/>
                <a:gd name="T52" fmla="*/ 128 w 256"/>
                <a:gd name="T53" fmla="*/ 21 h 256"/>
                <a:gd name="T54" fmla="*/ 156 w 256"/>
                <a:gd name="T55" fmla="*/ 75 h 256"/>
                <a:gd name="T56" fmla="*/ 100 w 256"/>
                <a:gd name="T57" fmla="*/ 75 h 256"/>
                <a:gd name="T58" fmla="*/ 128 w 256"/>
                <a:gd name="T59" fmla="*/ 21 h 256"/>
                <a:gd name="T60" fmla="*/ 128 w 256"/>
                <a:gd name="T61" fmla="*/ 235 h 256"/>
                <a:gd name="T62" fmla="*/ 100 w 256"/>
                <a:gd name="T63" fmla="*/ 181 h 256"/>
                <a:gd name="T64" fmla="*/ 156 w 256"/>
                <a:gd name="T65" fmla="*/ 181 h 256"/>
                <a:gd name="T66" fmla="*/ 128 w 256"/>
                <a:gd name="T67" fmla="*/ 235 h 256"/>
                <a:gd name="T68" fmla="*/ 160 w 256"/>
                <a:gd name="T69" fmla="*/ 160 h 256"/>
                <a:gd name="T70" fmla="*/ 96 w 256"/>
                <a:gd name="T71" fmla="*/ 160 h 256"/>
                <a:gd name="T72" fmla="*/ 95 w 256"/>
                <a:gd name="T73" fmla="*/ 128 h 256"/>
                <a:gd name="T74" fmla="*/ 96 w 256"/>
                <a:gd name="T75" fmla="*/ 96 h 256"/>
                <a:gd name="T76" fmla="*/ 160 w 256"/>
                <a:gd name="T77" fmla="*/ 96 h 256"/>
                <a:gd name="T78" fmla="*/ 161 w 256"/>
                <a:gd name="T79" fmla="*/ 128 h 256"/>
                <a:gd name="T80" fmla="*/ 160 w 256"/>
                <a:gd name="T81" fmla="*/ 160 h 256"/>
                <a:gd name="T82" fmla="*/ 163 w 256"/>
                <a:gd name="T83" fmla="*/ 229 h 256"/>
                <a:gd name="T84" fmla="*/ 178 w 256"/>
                <a:gd name="T85" fmla="*/ 181 h 256"/>
                <a:gd name="T86" fmla="*/ 220 w 256"/>
                <a:gd name="T87" fmla="*/ 181 h 256"/>
                <a:gd name="T88" fmla="*/ 163 w 256"/>
                <a:gd name="T89" fmla="*/ 229 h 256"/>
                <a:gd name="T90" fmla="*/ 181 w 256"/>
                <a:gd name="T91" fmla="*/ 160 h 256"/>
                <a:gd name="T92" fmla="*/ 183 w 256"/>
                <a:gd name="T93" fmla="*/ 128 h 256"/>
                <a:gd name="T94" fmla="*/ 181 w 256"/>
                <a:gd name="T95" fmla="*/ 96 h 256"/>
                <a:gd name="T96" fmla="*/ 230 w 256"/>
                <a:gd name="T97" fmla="*/ 96 h 256"/>
                <a:gd name="T98" fmla="*/ 235 w 256"/>
                <a:gd name="T99" fmla="*/ 128 h 256"/>
                <a:gd name="T100" fmla="*/ 230 w 256"/>
                <a:gd name="T101" fmla="*/ 160 h 256"/>
                <a:gd name="T102" fmla="*/ 181 w 256"/>
                <a:gd name="T103" fmla="*/ 16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6" h="256">
                  <a:moveTo>
                    <a:pt x="128" y="0"/>
                  </a:moveTo>
                  <a:cubicBezTo>
                    <a:pt x="116" y="0"/>
                    <a:pt x="104" y="2"/>
                    <a:pt x="93" y="5"/>
                  </a:cubicBezTo>
                  <a:cubicBezTo>
                    <a:pt x="87" y="6"/>
                    <a:pt x="84" y="12"/>
                    <a:pt x="86" y="18"/>
                  </a:cubicBezTo>
                  <a:cubicBezTo>
                    <a:pt x="87" y="22"/>
                    <a:pt x="90" y="25"/>
                    <a:pt x="94" y="25"/>
                  </a:cubicBezTo>
                  <a:cubicBezTo>
                    <a:pt x="87" y="39"/>
                    <a:pt x="81" y="56"/>
                    <a:pt x="78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69" y="75"/>
                    <a:pt x="64" y="79"/>
                    <a:pt x="64" y="85"/>
                  </a:cubicBezTo>
                  <a:cubicBezTo>
                    <a:pt x="64" y="91"/>
                    <a:pt x="69" y="96"/>
                    <a:pt x="75" y="96"/>
                  </a:cubicBezTo>
                  <a:cubicBezTo>
                    <a:pt x="75" y="96"/>
                    <a:pt x="75" y="96"/>
                    <a:pt x="75" y="96"/>
                  </a:cubicBezTo>
                  <a:cubicBezTo>
                    <a:pt x="74" y="106"/>
                    <a:pt x="73" y="117"/>
                    <a:pt x="73" y="128"/>
                  </a:cubicBezTo>
                  <a:cubicBezTo>
                    <a:pt x="73" y="139"/>
                    <a:pt x="74" y="150"/>
                    <a:pt x="75" y="160"/>
                  </a:cubicBezTo>
                  <a:cubicBezTo>
                    <a:pt x="26" y="160"/>
                    <a:pt x="26" y="160"/>
                    <a:pt x="26" y="160"/>
                  </a:cubicBezTo>
                  <a:cubicBezTo>
                    <a:pt x="24" y="153"/>
                    <a:pt x="22" y="145"/>
                    <a:pt x="22" y="138"/>
                  </a:cubicBezTo>
                  <a:cubicBezTo>
                    <a:pt x="21" y="132"/>
                    <a:pt x="16" y="127"/>
                    <a:pt x="10" y="128"/>
                  </a:cubicBezTo>
                  <a:cubicBezTo>
                    <a:pt x="4" y="129"/>
                    <a:pt x="0" y="134"/>
                    <a:pt x="1" y="140"/>
                  </a:cubicBezTo>
                  <a:cubicBezTo>
                    <a:pt x="6" y="206"/>
                    <a:pt x="61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ubicBezTo>
                    <a:pt x="256" y="57"/>
                    <a:pt x="199" y="0"/>
                    <a:pt x="128" y="0"/>
                  </a:cubicBezTo>
                  <a:close/>
                  <a:moveTo>
                    <a:pt x="36" y="181"/>
                  </a:moveTo>
                  <a:cubicBezTo>
                    <a:pt x="78" y="181"/>
                    <a:pt x="78" y="181"/>
                    <a:pt x="78" y="181"/>
                  </a:cubicBezTo>
                  <a:cubicBezTo>
                    <a:pt x="81" y="200"/>
                    <a:pt x="86" y="216"/>
                    <a:pt x="93" y="229"/>
                  </a:cubicBezTo>
                  <a:cubicBezTo>
                    <a:pt x="69" y="220"/>
                    <a:pt x="48" y="204"/>
                    <a:pt x="36" y="181"/>
                  </a:cubicBezTo>
                  <a:close/>
                  <a:moveTo>
                    <a:pt x="220" y="75"/>
                  </a:moveTo>
                  <a:cubicBezTo>
                    <a:pt x="178" y="75"/>
                    <a:pt x="178" y="75"/>
                    <a:pt x="178" y="75"/>
                  </a:cubicBezTo>
                  <a:cubicBezTo>
                    <a:pt x="175" y="57"/>
                    <a:pt x="170" y="40"/>
                    <a:pt x="163" y="27"/>
                  </a:cubicBezTo>
                  <a:cubicBezTo>
                    <a:pt x="187" y="36"/>
                    <a:pt x="207" y="53"/>
                    <a:pt x="220" y="75"/>
                  </a:cubicBezTo>
                  <a:close/>
                  <a:moveTo>
                    <a:pt x="128" y="21"/>
                  </a:moveTo>
                  <a:cubicBezTo>
                    <a:pt x="137" y="21"/>
                    <a:pt x="150" y="41"/>
                    <a:pt x="156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6" y="41"/>
                    <a:pt x="119" y="21"/>
                    <a:pt x="128" y="21"/>
                  </a:cubicBezTo>
                  <a:close/>
                  <a:moveTo>
                    <a:pt x="128" y="235"/>
                  </a:moveTo>
                  <a:cubicBezTo>
                    <a:pt x="119" y="235"/>
                    <a:pt x="106" y="215"/>
                    <a:pt x="100" y="181"/>
                  </a:cubicBezTo>
                  <a:cubicBezTo>
                    <a:pt x="156" y="181"/>
                    <a:pt x="156" y="181"/>
                    <a:pt x="156" y="181"/>
                  </a:cubicBezTo>
                  <a:cubicBezTo>
                    <a:pt x="150" y="215"/>
                    <a:pt x="137" y="235"/>
                    <a:pt x="128" y="235"/>
                  </a:cubicBezTo>
                  <a:close/>
                  <a:moveTo>
                    <a:pt x="160" y="160"/>
                  </a:moveTo>
                  <a:cubicBezTo>
                    <a:pt x="96" y="160"/>
                    <a:pt x="96" y="160"/>
                    <a:pt x="96" y="160"/>
                  </a:cubicBezTo>
                  <a:cubicBezTo>
                    <a:pt x="95" y="150"/>
                    <a:pt x="95" y="139"/>
                    <a:pt x="95" y="128"/>
                  </a:cubicBezTo>
                  <a:cubicBezTo>
                    <a:pt x="95" y="117"/>
                    <a:pt x="95" y="106"/>
                    <a:pt x="96" y="96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61" y="106"/>
                    <a:pt x="161" y="117"/>
                    <a:pt x="161" y="128"/>
                  </a:cubicBezTo>
                  <a:cubicBezTo>
                    <a:pt x="161" y="139"/>
                    <a:pt x="161" y="150"/>
                    <a:pt x="160" y="160"/>
                  </a:cubicBezTo>
                  <a:close/>
                  <a:moveTo>
                    <a:pt x="163" y="229"/>
                  </a:moveTo>
                  <a:cubicBezTo>
                    <a:pt x="170" y="216"/>
                    <a:pt x="175" y="199"/>
                    <a:pt x="178" y="181"/>
                  </a:cubicBezTo>
                  <a:cubicBezTo>
                    <a:pt x="220" y="181"/>
                    <a:pt x="220" y="181"/>
                    <a:pt x="220" y="181"/>
                  </a:cubicBezTo>
                  <a:cubicBezTo>
                    <a:pt x="207" y="203"/>
                    <a:pt x="187" y="220"/>
                    <a:pt x="163" y="229"/>
                  </a:cubicBezTo>
                  <a:close/>
                  <a:moveTo>
                    <a:pt x="181" y="160"/>
                  </a:moveTo>
                  <a:cubicBezTo>
                    <a:pt x="182" y="150"/>
                    <a:pt x="183" y="139"/>
                    <a:pt x="183" y="128"/>
                  </a:cubicBezTo>
                  <a:cubicBezTo>
                    <a:pt x="183" y="117"/>
                    <a:pt x="182" y="106"/>
                    <a:pt x="181" y="96"/>
                  </a:cubicBezTo>
                  <a:cubicBezTo>
                    <a:pt x="230" y="96"/>
                    <a:pt x="230" y="96"/>
                    <a:pt x="230" y="96"/>
                  </a:cubicBezTo>
                  <a:cubicBezTo>
                    <a:pt x="233" y="106"/>
                    <a:pt x="235" y="117"/>
                    <a:pt x="235" y="128"/>
                  </a:cubicBezTo>
                  <a:cubicBezTo>
                    <a:pt x="235" y="139"/>
                    <a:pt x="233" y="150"/>
                    <a:pt x="230" y="160"/>
                  </a:cubicBezTo>
                  <a:lnTo>
                    <a:pt x="181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44" name="Freeform 39"/>
            <p:cNvSpPr>
              <a:spLocks noEditPoints="1"/>
            </p:cNvSpPr>
            <p:nvPr/>
          </p:nvSpPr>
          <p:spPr bwMode="auto">
            <a:xfrm>
              <a:off x="2709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grpSp>
        <p:nvGrpSpPr>
          <p:cNvPr id="45" name="Group 578"/>
          <p:cNvGrpSpPr>
            <a:grpSpLocks noChangeAspect="1"/>
          </p:cNvGrpSpPr>
          <p:nvPr/>
        </p:nvGrpSpPr>
        <p:grpSpPr bwMode="auto">
          <a:xfrm>
            <a:off x="7141323" y="1221571"/>
            <a:ext cx="862166" cy="862166"/>
            <a:chOff x="1932" y="2478"/>
            <a:chExt cx="340" cy="340"/>
          </a:xfrm>
          <a:solidFill>
            <a:schemeClr val="accent5">
              <a:lumMod val="75000"/>
            </a:schemeClr>
          </a:solidFill>
        </p:grpSpPr>
        <p:sp>
          <p:nvSpPr>
            <p:cNvPr id="46" name="Freeform 579"/>
            <p:cNvSpPr>
              <a:spLocks noEditPoints="1"/>
            </p:cNvSpPr>
            <p:nvPr/>
          </p:nvSpPr>
          <p:spPr bwMode="auto">
            <a:xfrm>
              <a:off x="1996" y="2548"/>
              <a:ext cx="202" cy="185"/>
            </a:xfrm>
            <a:custGeom>
              <a:avLst/>
              <a:gdLst>
                <a:gd name="T0" fmla="*/ 298 w 304"/>
                <a:gd name="T1" fmla="*/ 160 h 278"/>
                <a:gd name="T2" fmla="*/ 234 w 304"/>
                <a:gd name="T3" fmla="*/ 96 h 278"/>
                <a:gd name="T4" fmla="*/ 196 w 304"/>
                <a:gd name="T5" fmla="*/ 96 h 278"/>
                <a:gd name="T6" fmla="*/ 213 w 304"/>
                <a:gd name="T7" fmla="*/ 46 h 278"/>
                <a:gd name="T8" fmla="*/ 199 w 304"/>
                <a:gd name="T9" fmla="*/ 3 h 278"/>
                <a:gd name="T10" fmla="*/ 191 w 304"/>
                <a:gd name="T11" fmla="*/ 0 h 278"/>
                <a:gd name="T12" fmla="*/ 184 w 304"/>
                <a:gd name="T13" fmla="*/ 4 h 278"/>
                <a:gd name="T14" fmla="*/ 89 w 304"/>
                <a:gd name="T15" fmla="*/ 112 h 278"/>
                <a:gd name="T16" fmla="*/ 88 w 304"/>
                <a:gd name="T17" fmla="*/ 114 h 278"/>
                <a:gd name="T18" fmla="*/ 79 w 304"/>
                <a:gd name="T19" fmla="*/ 128 h 278"/>
                <a:gd name="T20" fmla="*/ 10 w 304"/>
                <a:gd name="T21" fmla="*/ 128 h 278"/>
                <a:gd name="T22" fmla="*/ 0 w 304"/>
                <a:gd name="T23" fmla="*/ 139 h 278"/>
                <a:gd name="T24" fmla="*/ 0 w 304"/>
                <a:gd name="T25" fmla="*/ 256 h 278"/>
                <a:gd name="T26" fmla="*/ 10 w 304"/>
                <a:gd name="T27" fmla="*/ 267 h 278"/>
                <a:gd name="T28" fmla="*/ 95 w 304"/>
                <a:gd name="T29" fmla="*/ 267 h 278"/>
                <a:gd name="T30" fmla="*/ 128 w 304"/>
                <a:gd name="T31" fmla="*/ 278 h 278"/>
                <a:gd name="T32" fmla="*/ 224 w 304"/>
                <a:gd name="T33" fmla="*/ 278 h 278"/>
                <a:gd name="T34" fmla="*/ 274 w 304"/>
                <a:gd name="T35" fmla="*/ 256 h 278"/>
                <a:gd name="T36" fmla="*/ 298 w 304"/>
                <a:gd name="T37" fmla="*/ 160 h 278"/>
                <a:gd name="T38" fmla="*/ 21 w 304"/>
                <a:gd name="T39" fmla="*/ 150 h 278"/>
                <a:gd name="T40" fmla="*/ 74 w 304"/>
                <a:gd name="T41" fmla="*/ 150 h 278"/>
                <a:gd name="T42" fmla="*/ 74 w 304"/>
                <a:gd name="T43" fmla="*/ 150 h 278"/>
                <a:gd name="T44" fmla="*/ 74 w 304"/>
                <a:gd name="T45" fmla="*/ 224 h 278"/>
                <a:gd name="T46" fmla="*/ 78 w 304"/>
                <a:gd name="T47" fmla="*/ 246 h 278"/>
                <a:gd name="T48" fmla="*/ 21 w 304"/>
                <a:gd name="T49" fmla="*/ 246 h 278"/>
                <a:gd name="T50" fmla="*/ 21 w 304"/>
                <a:gd name="T51" fmla="*/ 150 h 278"/>
                <a:gd name="T52" fmla="*/ 258 w 304"/>
                <a:gd name="T53" fmla="*/ 242 h 278"/>
                <a:gd name="T54" fmla="*/ 224 w 304"/>
                <a:gd name="T55" fmla="*/ 256 h 278"/>
                <a:gd name="T56" fmla="*/ 128 w 304"/>
                <a:gd name="T57" fmla="*/ 256 h 278"/>
                <a:gd name="T58" fmla="*/ 96 w 304"/>
                <a:gd name="T59" fmla="*/ 224 h 278"/>
                <a:gd name="T60" fmla="*/ 96 w 304"/>
                <a:gd name="T61" fmla="*/ 150 h 278"/>
                <a:gd name="T62" fmla="*/ 104 w 304"/>
                <a:gd name="T63" fmla="*/ 127 h 278"/>
                <a:gd name="T64" fmla="*/ 105 w 304"/>
                <a:gd name="T65" fmla="*/ 127 h 278"/>
                <a:gd name="T66" fmla="*/ 191 w 304"/>
                <a:gd name="T67" fmla="*/ 28 h 278"/>
                <a:gd name="T68" fmla="*/ 192 w 304"/>
                <a:gd name="T69" fmla="*/ 40 h 278"/>
                <a:gd name="T70" fmla="*/ 171 w 304"/>
                <a:gd name="T71" fmla="*/ 104 h 278"/>
                <a:gd name="T72" fmla="*/ 171 w 304"/>
                <a:gd name="T73" fmla="*/ 104 h 278"/>
                <a:gd name="T74" fmla="*/ 170 w 304"/>
                <a:gd name="T75" fmla="*/ 107 h 278"/>
                <a:gd name="T76" fmla="*/ 181 w 304"/>
                <a:gd name="T77" fmla="*/ 118 h 278"/>
                <a:gd name="T78" fmla="*/ 234 w 304"/>
                <a:gd name="T79" fmla="*/ 118 h 278"/>
                <a:gd name="T80" fmla="*/ 277 w 304"/>
                <a:gd name="T81" fmla="*/ 161 h 278"/>
                <a:gd name="T82" fmla="*/ 258 w 304"/>
                <a:gd name="T83" fmla="*/ 24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04" h="278">
                  <a:moveTo>
                    <a:pt x="298" y="160"/>
                  </a:moveTo>
                  <a:cubicBezTo>
                    <a:pt x="298" y="129"/>
                    <a:pt x="265" y="96"/>
                    <a:pt x="234" y="96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213" y="46"/>
                    <a:pt x="213" y="46"/>
                    <a:pt x="213" y="46"/>
                  </a:cubicBezTo>
                  <a:cubicBezTo>
                    <a:pt x="219" y="23"/>
                    <a:pt x="200" y="4"/>
                    <a:pt x="199" y="3"/>
                  </a:cubicBezTo>
                  <a:cubicBezTo>
                    <a:pt x="197" y="1"/>
                    <a:pt x="194" y="0"/>
                    <a:pt x="191" y="0"/>
                  </a:cubicBezTo>
                  <a:cubicBezTo>
                    <a:pt x="188" y="0"/>
                    <a:pt x="186" y="2"/>
                    <a:pt x="184" y="4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89" y="112"/>
                    <a:pt x="89" y="112"/>
                    <a:pt x="88" y="114"/>
                  </a:cubicBezTo>
                  <a:cubicBezTo>
                    <a:pt x="84" y="118"/>
                    <a:pt x="81" y="123"/>
                    <a:pt x="79" y="128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4" y="128"/>
                    <a:pt x="0" y="133"/>
                    <a:pt x="0" y="139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4" y="267"/>
                    <a:pt x="10" y="267"/>
                  </a:cubicBezTo>
                  <a:cubicBezTo>
                    <a:pt x="95" y="267"/>
                    <a:pt x="95" y="267"/>
                    <a:pt x="95" y="267"/>
                  </a:cubicBezTo>
                  <a:cubicBezTo>
                    <a:pt x="104" y="274"/>
                    <a:pt x="115" y="278"/>
                    <a:pt x="128" y="278"/>
                  </a:cubicBezTo>
                  <a:cubicBezTo>
                    <a:pt x="224" y="278"/>
                    <a:pt x="224" y="278"/>
                    <a:pt x="224" y="278"/>
                  </a:cubicBezTo>
                  <a:cubicBezTo>
                    <a:pt x="244" y="278"/>
                    <a:pt x="261" y="271"/>
                    <a:pt x="274" y="256"/>
                  </a:cubicBezTo>
                  <a:cubicBezTo>
                    <a:pt x="304" y="223"/>
                    <a:pt x="299" y="162"/>
                    <a:pt x="298" y="160"/>
                  </a:cubicBezTo>
                  <a:close/>
                  <a:moveTo>
                    <a:pt x="21" y="150"/>
                  </a:moveTo>
                  <a:cubicBezTo>
                    <a:pt x="74" y="150"/>
                    <a:pt x="74" y="150"/>
                    <a:pt x="74" y="150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74" y="224"/>
                    <a:pt x="74" y="224"/>
                    <a:pt x="74" y="224"/>
                  </a:cubicBezTo>
                  <a:cubicBezTo>
                    <a:pt x="74" y="232"/>
                    <a:pt x="76" y="239"/>
                    <a:pt x="78" y="246"/>
                  </a:cubicBezTo>
                  <a:cubicBezTo>
                    <a:pt x="21" y="246"/>
                    <a:pt x="21" y="246"/>
                    <a:pt x="21" y="246"/>
                  </a:cubicBezTo>
                  <a:lnTo>
                    <a:pt x="21" y="150"/>
                  </a:lnTo>
                  <a:close/>
                  <a:moveTo>
                    <a:pt x="258" y="242"/>
                  </a:moveTo>
                  <a:cubicBezTo>
                    <a:pt x="250" y="252"/>
                    <a:pt x="238" y="256"/>
                    <a:pt x="224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09" y="256"/>
                    <a:pt x="96" y="243"/>
                    <a:pt x="96" y="224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42"/>
                    <a:pt x="99" y="134"/>
                    <a:pt x="104" y="127"/>
                  </a:cubicBezTo>
                  <a:cubicBezTo>
                    <a:pt x="105" y="127"/>
                    <a:pt x="105" y="127"/>
                    <a:pt x="105" y="127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2" y="32"/>
                    <a:pt x="193" y="36"/>
                    <a:pt x="192" y="40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5"/>
                    <a:pt x="170" y="106"/>
                    <a:pt x="170" y="107"/>
                  </a:cubicBezTo>
                  <a:cubicBezTo>
                    <a:pt x="170" y="113"/>
                    <a:pt x="175" y="118"/>
                    <a:pt x="181" y="118"/>
                  </a:cubicBezTo>
                  <a:cubicBezTo>
                    <a:pt x="234" y="118"/>
                    <a:pt x="234" y="118"/>
                    <a:pt x="234" y="118"/>
                  </a:cubicBezTo>
                  <a:cubicBezTo>
                    <a:pt x="253" y="118"/>
                    <a:pt x="277" y="141"/>
                    <a:pt x="277" y="161"/>
                  </a:cubicBezTo>
                  <a:cubicBezTo>
                    <a:pt x="277" y="162"/>
                    <a:pt x="282" y="216"/>
                    <a:pt x="258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>
                <a:solidFill>
                  <a:srgbClr val="75787B"/>
                </a:solidFill>
              </a:endParaRPr>
            </a:p>
          </p:txBody>
        </p:sp>
        <p:sp>
          <p:nvSpPr>
            <p:cNvPr id="47" name="Freeform 580"/>
            <p:cNvSpPr>
              <a:spLocks noEditPoints="1"/>
            </p:cNvSpPr>
            <p:nvPr/>
          </p:nvSpPr>
          <p:spPr bwMode="auto">
            <a:xfrm>
              <a:off x="1932" y="247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>
                <a:solidFill>
                  <a:srgbClr val="75787B"/>
                </a:solidFill>
              </a:endParaRPr>
            </a:p>
          </p:txBody>
        </p:sp>
      </p:grpSp>
      <p:sp>
        <p:nvSpPr>
          <p:cNvPr id="48" name="Freeform 351"/>
          <p:cNvSpPr>
            <a:spLocks noChangeAspect="1" noEditPoints="1"/>
          </p:cNvSpPr>
          <p:nvPr/>
        </p:nvSpPr>
        <p:spPr bwMode="auto">
          <a:xfrm>
            <a:off x="7166425" y="4790641"/>
            <a:ext cx="862166" cy="862166"/>
          </a:xfrm>
          <a:custGeom>
            <a:avLst/>
            <a:gdLst>
              <a:gd name="T0" fmla="*/ 128 w 512"/>
              <a:gd name="T1" fmla="*/ 331 h 512"/>
              <a:gd name="T2" fmla="*/ 152 w 512"/>
              <a:gd name="T3" fmla="*/ 331 h 512"/>
              <a:gd name="T4" fmla="*/ 128 w 512"/>
              <a:gd name="T5" fmla="*/ 256 h 512"/>
              <a:gd name="T6" fmla="*/ 256 w 512"/>
              <a:gd name="T7" fmla="*/ 128 h 512"/>
              <a:gd name="T8" fmla="*/ 384 w 512"/>
              <a:gd name="T9" fmla="*/ 256 h 512"/>
              <a:gd name="T10" fmla="*/ 256 w 512"/>
              <a:gd name="T11" fmla="*/ 384 h 512"/>
              <a:gd name="T12" fmla="*/ 245 w 512"/>
              <a:gd name="T13" fmla="*/ 373 h 512"/>
              <a:gd name="T14" fmla="*/ 256 w 512"/>
              <a:gd name="T15" fmla="*/ 363 h 512"/>
              <a:gd name="T16" fmla="*/ 362 w 512"/>
              <a:gd name="T17" fmla="*/ 256 h 512"/>
              <a:gd name="T18" fmla="*/ 256 w 512"/>
              <a:gd name="T19" fmla="*/ 149 h 512"/>
              <a:gd name="T20" fmla="*/ 149 w 512"/>
              <a:gd name="T21" fmla="*/ 256 h 512"/>
              <a:gd name="T22" fmla="*/ 170 w 512"/>
              <a:gd name="T23" fmla="*/ 320 h 512"/>
              <a:gd name="T24" fmla="*/ 170 w 512"/>
              <a:gd name="T25" fmla="*/ 288 h 512"/>
              <a:gd name="T26" fmla="*/ 180 w 512"/>
              <a:gd name="T27" fmla="*/ 277 h 512"/>
              <a:gd name="T28" fmla="*/ 191 w 512"/>
              <a:gd name="T29" fmla="*/ 288 h 512"/>
              <a:gd name="T30" fmla="*/ 191 w 512"/>
              <a:gd name="T31" fmla="*/ 341 h 512"/>
              <a:gd name="T32" fmla="*/ 181 w 512"/>
              <a:gd name="T33" fmla="*/ 353 h 512"/>
              <a:gd name="T34" fmla="*/ 128 w 512"/>
              <a:gd name="T35" fmla="*/ 353 h 512"/>
              <a:gd name="T36" fmla="*/ 117 w 512"/>
              <a:gd name="T37" fmla="*/ 342 h 512"/>
              <a:gd name="T38" fmla="*/ 128 w 512"/>
              <a:gd name="T39" fmla="*/ 331 h 512"/>
              <a:gd name="T40" fmla="*/ 280 w 512"/>
              <a:gd name="T41" fmla="*/ 227 h 512"/>
              <a:gd name="T42" fmla="*/ 256 w 512"/>
              <a:gd name="T43" fmla="*/ 252 h 512"/>
              <a:gd name="T44" fmla="*/ 213 w 512"/>
              <a:gd name="T45" fmla="*/ 208 h 512"/>
              <a:gd name="T46" fmla="*/ 197 w 512"/>
              <a:gd name="T47" fmla="*/ 208 h 512"/>
              <a:gd name="T48" fmla="*/ 197 w 512"/>
              <a:gd name="T49" fmla="*/ 224 h 512"/>
              <a:gd name="T50" fmla="*/ 248 w 512"/>
              <a:gd name="T51" fmla="*/ 274 h 512"/>
              <a:gd name="T52" fmla="*/ 256 w 512"/>
              <a:gd name="T53" fmla="*/ 277 h 512"/>
              <a:gd name="T54" fmla="*/ 263 w 512"/>
              <a:gd name="T55" fmla="*/ 274 h 512"/>
              <a:gd name="T56" fmla="*/ 295 w 512"/>
              <a:gd name="T57" fmla="*/ 242 h 512"/>
              <a:gd name="T58" fmla="*/ 295 w 512"/>
              <a:gd name="T59" fmla="*/ 227 h 512"/>
              <a:gd name="T60" fmla="*/ 280 w 512"/>
              <a:gd name="T61" fmla="*/ 227 h 512"/>
              <a:gd name="T62" fmla="*/ 256 w 512"/>
              <a:gd name="T63" fmla="*/ 21 h 512"/>
              <a:gd name="T64" fmla="*/ 490 w 512"/>
              <a:gd name="T65" fmla="*/ 256 h 512"/>
              <a:gd name="T66" fmla="*/ 256 w 512"/>
              <a:gd name="T67" fmla="*/ 491 h 512"/>
              <a:gd name="T68" fmla="*/ 21 w 512"/>
              <a:gd name="T69" fmla="*/ 256 h 512"/>
              <a:gd name="T70" fmla="*/ 256 w 512"/>
              <a:gd name="T71" fmla="*/ 21 h 512"/>
              <a:gd name="T72" fmla="*/ 256 w 512"/>
              <a:gd name="T73" fmla="*/ 0 h 512"/>
              <a:gd name="T74" fmla="*/ 0 w 512"/>
              <a:gd name="T75" fmla="*/ 256 h 512"/>
              <a:gd name="T76" fmla="*/ 256 w 512"/>
              <a:gd name="T77" fmla="*/ 512 h 512"/>
              <a:gd name="T78" fmla="*/ 512 w 512"/>
              <a:gd name="T79" fmla="*/ 256 h 512"/>
              <a:gd name="T80" fmla="*/ 256 w 512"/>
              <a:gd name="T81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128" y="331"/>
                </a:moveTo>
                <a:cubicBezTo>
                  <a:pt x="152" y="331"/>
                  <a:pt x="152" y="331"/>
                  <a:pt x="152" y="331"/>
                </a:cubicBezTo>
                <a:cubicBezTo>
                  <a:pt x="136" y="310"/>
                  <a:pt x="128" y="283"/>
                  <a:pt x="128" y="256"/>
                </a:cubicBezTo>
                <a:cubicBezTo>
                  <a:pt x="128" y="186"/>
                  <a:pt x="185" y="128"/>
                  <a:pt x="256" y="128"/>
                </a:cubicBezTo>
                <a:cubicBezTo>
                  <a:pt x="326" y="128"/>
                  <a:pt x="384" y="186"/>
                  <a:pt x="384" y="256"/>
                </a:cubicBezTo>
                <a:cubicBezTo>
                  <a:pt x="384" y="327"/>
                  <a:pt x="326" y="384"/>
                  <a:pt x="256" y="384"/>
                </a:cubicBezTo>
                <a:cubicBezTo>
                  <a:pt x="250" y="384"/>
                  <a:pt x="245" y="379"/>
                  <a:pt x="245" y="373"/>
                </a:cubicBezTo>
                <a:cubicBezTo>
                  <a:pt x="245" y="367"/>
                  <a:pt x="250" y="363"/>
                  <a:pt x="256" y="363"/>
                </a:cubicBezTo>
                <a:cubicBezTo>
                  <a:pt x="314" y="363"/>
                  <a:pt x="362" y="315"/>
                  <a:pt x="362" y="256"/>
                </a:cubicBezTo>
                <a:cubicBezTo>
                  <a:pt x="362" y="197"/>
                  <a:pt x="314" y="149"/>
                  <a:pt x="256" y="149"/>
                </a:cubicBezTo>
                <a:cubicBezTo>
                  <a:pt x="197" y="149"/>
                  <a:pt x="149" y="197"/>
                  <a:pt x="149" y="256"/>
                </a:cubicBezTo>
                <a:cubicBezTo>
                  <a:pt x="149" y="279"/>
                  <a:pt x="156" y="302"/>
                  <a:pt x="170" y="320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70" y="282"/>
                  <a:pt x="174" y="277"/>
                  <a:pt x="180" y="277"/>
                </a:cubicBezTo>
                <a:cubicBezTo>
                  <a:pt x="186" y="277"/>
                  <a:pt x="191" y="282"/>
                  <a:pt x="191" y="288"/>
                </a:cubicBezTo>
                <a:cubicBezTo>
                  <a:pt x="191" y="341"/>
                  <a:pt x="191" y="341"/>
                  <a:pt x="191" y="341"/>
                </a:cubicBezTo>
                <a:cubicBezTo>
                  <a:pt x="191" y="347"/>
                  <a:pt x="187" y="353"/>
                  <a:pt x="181" y="353"/>
                </a:cubicBezTo>
                <a:cubicBezTo>
                  <a:pt x="128" y="353"/>
                  <a:pt x="128" y="353"/>
                  <a:pt x="128" y="353"/>
                </a:cubicBezTo>
                <a:cubicBezTo>
                  <a:pt x="122" y="353"/>
                  <a:pt x="117" y="348"/>
                  <a:pt x="117" y="342"/>
                </a:cubicBezTo>
                <a:cubicBezTo>
                  <a:pt x="117" y="336"/>
                  <a:pt x="122" y="331"/>
                  <a:pt x="128" y="331"/>
                </a:cubicBezTo>
                <a:close/>
                <a:moveTo>
                  <a:pt x="280" y="227"/>
                </a:moveTo>
                <a:cubicBezTo>
                  <a:pt x="256" y="252"/>
                  <a:pt x="256" y="252"/>
                  <a:pt x="256" y="252"/>
                </a:cubicBezTo>
                <a:cubicBezTo>
                  <a:pt x="213" y="208"/>
                  <a:pt x="213" y="208"/>
                  <a:pt x="213" y="208"/>
                </a:cubicBezTo>
                <a:cubicBezTo>
                  <a:pt x="208" y="204"/>
                  <a:pt x="202" y="204"/>
                  <a:pt x="197" y="208"/>
                </a:cubicBezTo>
                <a:cubicBezTo>
                  <a:pt x="193" y="213"/>
                  <a:pt x="193" y="219"/>
                  <a:pt x="197" y="224"/>
                </a:cubicBezTo>
                <a:cubicBezTo>
                  <a:pt x="248" y="274"/>
                  <a:pt x="248" y="274"/>
                  <a:pt x="248" y="274"/>
                </a:cubicBezTo>
                <a:cubicBezTo>
                  <a:pt x="250" y="276"/>
                  <a:pt x="253" y="277"/>
                  <a:pt x="256" y="277"/>
                </a:cubicBezTo>
                <a:cubicBezTo>
                  <a:pt x="258" y="277"/>
                  <a:pt x="261" y="276"/>
                  <a:pt x="263" y="274"/>
                </a:cubicBezTo>
                <a:cubicBezTo>
                  <a:pt x="295" y="242"/>
                  <a:pt x="295" y="242"/>
                  <a:pt x="295" y="242"/>
                </a:cubicBezTo>
                <a:cubicBezTo>
                  <a:pt x="299" y="238"/>
                  <a:pt x="299" y="231"/>
                  <a:pt x="295" y="227"/>
                </a:cubicBezTo>
                <a:cubicBezTo>
                  <a:pt x="291" y="223"/>
                  <a:pt x="284" y="223"/>
                  <a:pt x="280" y="227"/>
                </a:cubicBezTo>
                <a:close/>
                <a:moveTo>
                  <a:pt x="256" y="21"/>
                </a:moveTo>
                <a:cubicBezTo>
                  <a:pt x="385" y="21"/>
                  <a:pt x="490" y="127"/>
                  <a:pt x="490" y="256"/>
                </a:cubicBezTo>
                <a:cubicBezTo>
                  <a:pt x="490" y="385"/>
                  <a:pt x="385" y="491"/>
                  <a:pt x="256" y="491"/>
                </a:cubicBezTo>
                <a:cubicBezTo>
                  <a:pt x="126" y="491"/>
                  <a:pt x="21" y="385"/>
                  <a:pt x="21" y="256"/>
                </a:cubicBezTo>
                <a:cubicBezTo>
                  <a:pt x="21" y="127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5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</a:path>
            </a:pathLst>
          </a:custGeom>
          <a:solidFill>
            <a:srgbClr val="00ABA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800"/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97" b="20433"/>
          <a:stretch/>
        </p:blipFill>
        <p:spPr>
          <a:xfrm>
            <a:off x="48045" y="1221571"/>
            <a:ext cx="7175976" cy="4461284"/>
          </a:xfrm>
          <a:prstGeom prst="rect">
            <a:avLst/>
          </a:prstGeom>
        </p:spPr>
      </p:pic>
      <p:pic>
        <p:nvPicPr>
          <p:cNvPr id="53" name="Picture 52">
            <a:hlinkClick r:id="rId7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272" y="2046966"/>
            <a:ext cx="5227868" cy="279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2997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69900" y="718431"/>
            <a:ext cx="2887495" cy="337509"/>
          </a:xfrm>
        </p:spPr>
        <p:txBody>
          <a:bodyPr/>
          <a:lstStyle/>
          <a:p>
            <a:r>
              <a:rPr lang="en-AU" dirty="0" smtClean="0"/>
              <a:t>Lo que </a:t>
            </a:r>
            <a:r>
              <a:rPr lang="es-AR" dirty="0" smtClean="0"/>
              <a:t>hace falta</a:t>
            </a:r>
            <a:endParaRPr lang="es-A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Fuentes de </a:t>
            </a:r>
            <a:r>
              <a:rPr lang="en-AU" dirty="0" err="1" smtClean="0"/>
              <a:t>Datos</a:t>
            </a:r>
            <a:endParaRPr lang="en-AU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150" y="456188"/>
            <a:ext cx="5982472" cy="5992604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1288217" y="2039404"/>
            <a:ext cx="22375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AR" sz="1600" b="1" dirty="0" smtClean="0">
                <a:solidFill>
                  <a:schemeClr val="accent5">
                    <a:lumMod val="75000"/>
                  </a:schemeClr>
                </a:solidFill>
              </a:rPr>
              <a:t>Consistencia</a:t>
            </a:r>
            <a:endParaRPr lang="es-AR" sz="1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17" name="Group 862"/>
          <p:cNvGrpSpPr>
            <a:grpSpLocks noChangeAspect="1"/>
          </p:cNvGrpSpPr>
          <p:nvPr/>
        </p:nvGrpSpPr>
        <p:grpSpPr bwMode="auto">
          <a:xfrm>
            <a:off x="391074" y="2918763"/>
            <a:ext cx="901032" cy="903681"/>
            <a:chOff x="6607" y="3441"/>
            <a:chExt cx="340" cy="341"/>
          </a:xfrm>
          <a:solidFill>
            <a:schemeClr val="accent1">
              <a:lumMod val="75000"/>
            </a:schemeClr>
          </a:solidFill>
        </p:grpSpPr>
        <p:sp>
          <p:nvSpPr>
            <p:cNvPr id="18" name="Freeform 863"/>
            <p:cNvSpPr>
              <a:spLocks noEditPoints="1"/>
            </p:cNvSpPr>
            <p:nvPr/>
          </p:nvSpPr>
          <p:spPr bwMode="auto">
            <a:xfrm>
              <a:off x="6607" y="344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9" name="Freeform 864"/>
            <p:cNvSpPr>
              <a:spLocks noEditPoints="1"/>
            </p:cNvSpPr>
            <p:nvPr/>
          </p:nvSpPr>
          <p:spPr bwMode="auto">
            <a:xfrm>
              <a:off x="6671" y="3519"/>
              <a:ext cx="198" cy="184"/>
            </a:xfrm>
            <a:custGeom>
              <a:avLst/>
              <a:gdLst>
                <a:gd name="T0" fmla="*/ 256 w 298"/>
                <a:gd name="T1" fmla="*/ 192 h 277"/>
                <a:gd name="T2" fmla="*/ 223 w 298"/>
                <a:gd name="T3" fmla="*/ 208 h 277"/>
                <a:gd name="T4" fmla="*/ 84 w 298"/>
                <a:gd name="T5" fmla="*/ 146 h 277"/>
                <a:gd name="T6" fmla="*/ 85 w 298"/>
                <a:gd name="T7" fmla="*/ 139 h 277"/>
                <a:gd name="T8" fmla="*/ 84 w 298"/>
                <a:gd name="T9" fmla="*/ 131 h 277"/>
                <a:gd name="T10" fmla="*/ 223 w 298"/>
                <a:gd name="T11" fmla="*/ 69 h 277"/>
                <a:gd name="T12" fmla="*/ 256 w 298"/>
                <a:gd name="T13" fmla="*/ 85 h 277"/>
                <a:gd name="T14" fmla="*/ 298 w 298"/>
                <a:gd name="T15" fmla="*/ 43 h 277"/>
                <a:gd name="T16" fmla="*/ 256 w 298"/>
                <a:gd name="T17" fmla="*/ 0 h 277"/>
                <a:gd name="T18" fmla="*/ 213 w 298"/>
                <a:gd name="T19" fmla="*/ 43 h 277"/>
                <a:gd name="T20" fmla="*/ 214 w 298"/>
                <a:gd name="T21" fmla="*/ 50 h 277"/>
                <a:gd name="T22" fmla="*/ 75 w 298"/>
                <a:gd name="T23" fmla="*/ 112 h 277"/>
                <a:gd name="T24" fmla="*/ 42 w 298"/>
                <a:gd name="T25" fmla="*/ 96 h 277"/>
                <a:gd name="T26" fmla="*/ 0 w 298"/>
                <a:gd name="T27" fmla="*/ 139 h 277"/>
                <a:gd name="T28" fmla="*/ 42 w 298"/>
                <a:gd name="T29" fmla="*/ 181 h 277"/>
                <a:gd name="T30" fmla="*/ 75 w 298"/>
                <a:gd name="T31" fmla="*/ 165 h 277"/>
                <a:gd name="T32" fmla="*/ 214 w 298"/>
                <a:gd name="T33" fmla="*/ 227 h 277"/>
                <a:gd name="T34" fmla="*/ 213 w 298"/>
                <a:gd name="T35" fmla="*/ 235 h 277"/>
                <a:gd name="T36" fmla="*/ 256 w 298"/>
                <a:gd name="T37" fmla="*/ 277 h 277"/>
                <a:gd name="T38" fmla="*/ 298 w 298"/>
                <a:gd name="T39" fmla="*/ 235 h 277"/>
                <a:gd name="T40" fmla="*/ 256 w 298"/>
                <a:gd name="T41" fmla="*/ 192 h 277"/>
                <a:gd name="T42" fmla="*/ 256 w 298"/>
                <a:gd name="T43" fmla="*/ 21 h 277"/>
                <a:gd name="T44" fmla="*/ 277 w 298"/>
                <a:gd name="T45" fmla="*/ 43 h 277"/>
                <a:gd name="T46" fmla="*/ 256 w 298"/>
                <a:gd name="T47" fmla="*/ 64 h 277"/>
                <a:gd name="T48" fmla="*/ 234 w 298"/>
                <a:gd name="T49" fmla="*/ 43 h 277"/>
                <a:gd name="T50" fmla="*/ 256 w 298"/>
                <a:gd name="T51" fmla="*/ 21 h 277"/>
                <a:gd name="T52" fmla="*/ 42 w 298"/>
                <a:gd name="T53" fmla="*/ 160 h 277"/>
                <a:gd name="T54" fmla="*/ 21 w 298"/>
                <a:gd name="T55" fmla="*/ 139 h 277"/>
                <a:gd name="T56" fmla="*/ 42 w 298"/>
                <a:gd name="T57" fmla="*/ 117 h 277"/>
                <a:gd name="T58" fmla="*/ 64 w 298"/>
                <a:gd name="T59" fmla="*/ 139 h 277"/>
                <a:gd name="T60" fmla="*/ 42 w 298"/>
                <a:gd name="T61" fmla="*/ 160 h 277"/>
                <a:gd name="T62" fmla="*/ 256 w 298"/>
                <a:gd name="T63" fmla="*/ 256 h 277"/>
                <a:gd name="T64" fmla="*/ 234 w 298"/>
                <a:gd name="T65" fmla="*/ 235 h 277"/>
                <a:gd name="T66" fmla="*/ 256 w 298"/>
                <a:gd name="T67" fmla="*/ 213 h 277"/>
                <a:gd name="T68" fmla="*/ 277 w 298"/>
                <a:gd name="T69" fmla="*/ 235 h 277"/>
                <a:gd name="T70" fmla="*/ 256 w 298"/>
                <a:gd name="T71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8" h="277">
                  <a:moveTo>
                    <a:pt x="256" y="192"/>
                  </a:moveTo>
                  <a:cubicBezTo>
                    <a:pt x="242" y="192"/>
                    <a:pt x="230" y="198"/>
                    <a:pt x="223" y="208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5" y="143"/>
                    <a:pt x="85" y="141"/>
                    <a:pt x="85" y="139"/>
                  </a:cubicBezTo>
                  <a:cubicBezTo>
                    <a:pt x="85" y="136"/>
                    <a:pt x="85" y="134"/>
                    <a:pt x="84" y="131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30" y="79"/>
                    <a:pt x="242" y="85"/>
                    <a:pt x="256" y="85"/>
                  </a:cubicBezTo>
                  <a:cubicBezTo>
                    <a:pt x="279" y="85"/>
                    <a:pt x="298" y="66"/>
                    <a:pt x="298" y="43"/>
                  </a:cubicBezTo>
                  <a:cubicBezTo>
                    <a:pt x="298" y="19"/>
                    <a:pt x="279" y="0"/>
                    <a:pt x="256" y="0"/>
                  </a:cubicBezTo>
                  <a:cubicBezTo>
                    <a:pt x="232" y="0"/>
                    <a:pt x="213" y="19"/>
                    <a:pt x="213" y="43"/>
                  </a:cubicBezTo>
                  <a:cubicBezTo>
                    <a:pt x="213" y="45"/>
                    <a:pt x="213" y="48"/>
                    <a:pt x="214" y="50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68" y="102"/>
                    <a:pt x="56" y="96"/>
                    <a:pt x="42" y="96"/>
                  </a:cubicBezTo>
                  <a:cubicBezTo>
                    <a:pt x="19" y="96"/>
                    <a:pt x="0" y="115"/>
                    <a:pt x="0" y="139"/>
                  </a:cubicBezTo>
                  <a:cubicBezTo>
                    <a:pt x="0" y="162"/>
                    <a:pt x="19" y="181"/>
                    <a:pt x="42" y="181"/>
                  </a:cubicBezTo>
                  <a:cubicBezTo>
                    <a:pt x="56" y="181"/>
                    <a:pt x="68" y="175"/>
                    <a:pt x="75" y="165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30"/>
                    <a:pt x="213" y="232"/>
                    <a:pt x="213" y="235"/>
                  </a:cubicBezTo>
                  <a:cubicBezTo>
                    <a:pt x="213" y="258"/>
                    <a:pt x="232" y="277"/>
                    <a:pt x="256" y="277"/>
                  </a:cubicBezTo>
                  <a:cubicBezTo>
                    <a:pt x="279" y="277"/>
                    <a:pt x="298" y="258"/>
                    <a:pt x="298" y="235"/>
                  </a:cubicBezTo>
                  <a:cubicBezTo>
                    <a:pt x="298" y="211"/>
                    <a:pt x="279" y="192"/>
                    <a:pt x="256" y="192"/>
                  </a:cubicBezTo>
                  <a:close/>
                  <a:moveTo>
                    <a:pt x="256" y="21"/>
                  </a:moveTo>
                  <a:cubicBezTo>
                    <a:pt x="267" y="21"/>
                    <a:pt x="277" y="31"/>
                    <a:pt x="277" y="43"/>
                  </a:cubicBezTo>
                  <a:cubicBezTo>
                    <a:pt x="277" y="54"/>
                    <a:pt x="267" y="64"/>
                    <a:pt x="256" y="64"/>
                  </a:cubicBezTo>
                  <a:cubicBezTo>
                    <a:pt x="244" y="64"/>
                    <a:pt x="234" y="54"/>
                    <a:pt x="234" y="43"/>
                  </a:cubicBezTo>
                  <a:cubicBezTo>
                    <a:pt x="234" y="31"/>
                    <a:pt x="244" y="21"/>
                    <a:pt x="256" y="21"/>
                  </a:cubicBezTo>
                  <a:close/>
                  <a:moveTo>
                    <a:pt x="42" y="160"/>
                  </a:moveTo>
                  <a:cubicBezTo>
                    <a:pt x="31" y="160"/>
                    <a:pt x="21" y="150"/>
                    <a:pt x="21" y="139"/>
                  </a:cubicBezTo>
                  <a:cubicBezTo>
                    <a:pt x="21" y="127"/>
                    <a:pt x="31" y="117"/>
                    <a:pt x="42" y="117"/>
                  </a:cubicBezTo>
                  <a:cubicBezTo>
                    <a:pt x="54" y="117"/>
                    <a:pt x="64" y="127"/>
                    <a:pt x="64" y="139"/>
                  </a:cubicBezTo>
                  <a:cubicBezTo>
                    <a:pt x="64" y="150"/>
                    <a:pt x="54" y="160"/>
                    <a:pt x="42" y="160"/>
                  </a:cubicBezTo>
                  <a:close/>
                  <a:moveTo>
                    <a:pt x="256" y="256"/>
                  </a:moveTo>
                  <a:cubicBezTo>
                    <a:pt x="244" y="256"/>
                    <a:pt x="234" y="246"/>
                    <a:pt x="234" y="235"/>
                  </a:cubicBezTo>
                  <a:cubicBezTo>
                    <a:pt x="234" y="223"/>
                    <a:pt x="244" y="213"/>
                    <a:pt x="256" y="213"/>
                  </a:cubicBezTo>
                  <a:cubicBezTo>
                    <a:pt x="267" y="213"/>
                    <a:pt x="277" y="223"/>
                    <a:pt x="277" y="235"/>
                  </a:cubicBezTo>
                  <a:cubicBezTo>
                    <a:pt x="277" y="246"/>
                    <a:pt x="267" y="256"/>
                    <a:pt x="256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0" name="Rectangle 19"/>
          <p:cNvSpPr/>
          <p:nvPr/>
        </p:nvSpPr>
        <p:spPr>
          <a:xfrm>
            <a:off x="1288217" y="3200001"/>
            <a:ext cx="22375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AR" sz="1600" b="1" dirty="0" smtClean="0">
                <a:solidFill>
                  <a:schemeClr val="accent1">
                    <a:lumMod val="75000"/>
                  </a:schemeClr>
                </a:solidFill>
              </a:rPr>
              <a:t>Confiabilidad</a:t>
            </a:r>
            <a:endParaRPr lang="es-AR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288217" y="4375437"/>
            <a:ext cx="22375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AR" sz="1600" b="1" dirty="0" smtClean="0">
                <a:solidFill>
                  <a:srgbClr val="75787B"/>
                </a:solidFill>
              </a:rPr>
              <a:t>Disponibilidad</a:t>
            </a:r>
            <a:endParaRPr lang="es-AR" sz="1600" b="1" dirty="0">
              <a:solidFill>
                <a:srgbClr val="75787B"/>
              </a:solidFill>
            </a:endParaRPr>
          </a:p>
        </p:txBody>
      </p:sp>
      <p:grpSp>
        <p:nvGrpSpPr>
          <p:cNvPr id="22" name="Group 252"/>
          <p:cNvGrpSpPr>
            <a:grpSpLocks noChangeAspect="1"/>
          </p:cNvGrpSpPr>
          <p:nvPr/>
        </p:nvGrpSpPr>
        <p:grpSpPr bwMode="auto">
          <a:xfrm>
            <a:off x="384537" y="1756310"/>
            <a:ext cx="903681" cy="903681"/>
            <a:chOff x="5024" y="718"/>
            <a:chExt cx="340" cy="340"/>
          </a:xfrm>
          <a:solidFill>
            <a:schemeClr val="accent5">
              <a:lumMod val="75000"/>
            </a:schemeClr>
          </a:solidFill>
        </p:grpSpPr>
        <p:sp>
          <p:nvSpPr>
            <p:cNvPr id="23" name="Freeform 253"/>
            <p:cNvSpPr>
              <a:spLocks/>
            </p:cNvSpPr>
            <p:nvPr/>
          </p:nvSpPr>
          <p:spPr bwMode="auto">
            <a:xfrm>
              <a:off x="5088" y="782"/>
              <a:ext cx="212" cy="212"/>
            </a:xfrm>
            <a:custGeom>
              <a:avLst/>
              <a:gdLst>
                <a:gd name="T0" fmla="*/ 181 w 320"/>
                <a:gd name="T1" fmla="*/ 320 h 320"/>
                <a:gd name="T2" fmla="*/ 181 w 320"/>
                <a:gd name="T3" fmla="*/ 320 h 320"/>
                <a:gd name="T4" fmla="*/ 171 w 320"/>
                <a:gd name="T5" fmla="*/ 311 h 320"/>
                <a:gd name="T6" fmla="*/ 126 w 320"/>
                <a:gd name="T7" fmla="*/ 63 h 320"/>
                <a:gd name="T8" fmla="*/ 95 w 320"/>
                <a:gd name="T9" fmla="*/ 194 h 320"/>
                <a:gd name="T10" fmla="*/ 85 w 320"/>
                <a:gd name="T11" fmla="*/ 202 h 320"/>
                <a:gd name="T12" fmla="*/ 75 w 320"/>
                <a:gd name="T13" fmla="*/ 195 h 320"/>
                <a:gd name="T14" fmla="*/ 60 w 320"/>
                <a:gd name="T15" fmla="*/ 152 h 320"/>
                <a:gd name="T16" fmla="*/ 51 w 320"/>
                <a:gd name="T17" fmla="*/ 166 h 320"/>
                <a:gd name="T18" fmla="*/ 42 w 320"/>
                <a:gd name="T19" fmla="*/ 170 h 320"/>
                <a:gd name="T20" fmla="*/ 10 w 320"/>
                <a:gd name="T21" fmla="*/ 170 h 320"/>
                <a:gd name="T22" fmla="*/ 0 w 320"/>
                <a:gd name="T23" fmla="*/ 160 h 320"/>
                <a:gd name="T24" fmla="*/ 10 w 320"/>
                <a:gd name="T25" fmla="*/ 149 h 320"/>
                <a:gd name="T26" fmla="*/ 37 w 320"/>
                <a:gd name="T27" fmla="*/ 149 h 320"/>
                <a:gd name="T28" fmla="*/ 55 w 320"/>
                <a:gd name="T29" fmla="*/ 122 h 320"/>
                <a:gd name="T30" fmla="*/ 65 w 320"/>
                <a:gd name="T31" fmla="*/ 117 h 320"/>
                <a:gd name="T32" fmla="*/ 74 w 320"/>
                <a:gd name="T33" fmla="*/ 124 h 320"/>
                <a:gd name="T34" fmla="*/ 83 w 320"/>
                <a:gd name="T35" fmla="*/ 153 h 320"/>
                <a:gd name="T36" fmla="*/ 117 w 320"/>
                <a:gd name="T37" fmla="*/ 8 h 320"/>
                <a:gd name="T38" fmla="*/ 128 w 320"/>
                <a:gd name="T39" fmla="*/ 0 h 320"/>
                <a:gd name="T40" fmla="*/ 138 w 320"/>
                <a:gd name="T41" fmla="*/ 8 h 320"/>
                <a:gd name="T42" fmla="*/ 182 w 320"/>
                <a:gd name="T43" fmla="*/ 253 h 320"/>
                <a:gd name="T44" fmla="*/ 213 w 320"/>
                <a:gd name="T45" fmla="*/ 104 h 320"/>
                <a:gd name="T46" fmla="*/ 223 w 320"/>
                <a:gd name="T47" fmla="*/ 96 h 320"/>
                <a:gd name="T48" fmla="*/ 234 w 320"/>
                <a:gd name="T49" fmla="*/ 103 h 320"/>
                <a:gd name="T50" fmla="*/ 254 w 320"/>
                <a:gd name="T51" fmla="*/ 164 h 320"/>
                <a:gd name="T52" fmla="*/ 256 w 320"/>
                <a:gd name="T53" fmla="*/ 157 h 320"/>
                <a:gd name="T54" fmla="*/ 266 w 320"/>
                <a:gd name="T55" fmla="*/ 149 h 320"/>
                <a:gd name="T56" fmla="*/ 309 w 320"/>
                <a:gd name="T57" fmla="*/ 149 h 320"/>
                <a:gd name="T58" fmla="*/ 320 w 320"/>
                <a:gd name="T59" fmla="*/ 160 h 320"/>
                <a:gd name="T60" fmla="*/ 309 w 320"/>
                <a:gd name="T61" fmla="*/ 170 h 320"/>
                <a:gd name="T62" fmla="*/ 275 w 320"/>
                <a:gd name="T63" fmla="*/ 170 h 320"/>
                <a:gd name="T64" fmla="*/ 266 w 320"/>
                <a:gd name="T65" fmla="*/ 205 h 320"/>
                <a:gd name="T66" fmla="*/ 256 w 320"/>
                <a:gd name="T67" fmla="*/ 213 h 320"/>
                <a:gd name="T68" fmla="*/ 246 w 320"/>
                <a:gd name="T69" fmla="*/ 206 h 320"/>
                <a:gd name="T70" fmla="*/ 226 w 320"/>
                <a:gd name="T71" fmla="*/ 147 h 320"/>
                <a:gd name="T72" fmla="*/ 191 w 320"/>
                <a:gd name="T73" fmla="*/ 311 h 320"/>
                <a:gd name="T74" fmla="*/ 181 w 320"/>
                <a:gd name="T75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0" h="320">
                  <a:moveTo>
                    <a:pt x="181" y="320"/>
                  </a:moveTo>
                  <a:cubicBezTo>
                    <a:pt x="181" y="320"/>
                    <a:pt x="181" y="320"/>
                    <a:pt x="181" y="320"/>
                  </a:cubicBezTo>
                  <a:cubicBezTo>
                    <a:pt x="176" y="320"/>
                    <a:pt x="171" y="316"/>
                    <a:pt x="171" y="311"/>
                  </a:cubicBezTo>
                  <a:cubicBezTo>
                    <a:pt x="126" y="63"/>
                    <a:pt x="126" y="63"/>
                    <a:pt x="126" y="63"/>
                  </a:cubicBezTo>
                  <a:cubicBezTo>
                    <a:pt x="95" y="194"/>
                    <a:pt x="95" y="194"/>
                    <a:pt x="95" y="194"/>
                  </a:cubicBezTo>
                  <a:cubicBezTo>
                    <a:pt x="94" y="199"/>
                    <a:pt x="90" y="202"/>
                    <a:pt x="85" y="202"/>
                  </a:cubicBezTo>
                  <a:cubicBezTo>
                    <a:pt x="81" y="203"/>
                    <a:pt x="76" y="200"/>
                    <a:pt x="75" y="195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49" y="169"/>
                    <a:pt x="46" y="170"/>
                    <a:pt x="42" y="170"/>
                  </a:cubicBezTo>
                  <a:cubicBezTo>
                    <a:pt x="10" y="170"/>
                    <a:pt x="10" y="170"/>
                    <a:pt x="10" y="170"/>
                  </a:cubicBezTo>
                  <a:cubicBezTo>
                    <a:pt x="4" y="170"/>
                    <a:pt x="0" y="166"/>
                    <a:pt x="0" y="160"/>
                  </a:cubicBezTo>
                  <a:cubicBezTo>
                    <a:pt x="0" y="154"/>
                    <a:pt x="4" y="149"/>
                    <a:pt x="10" y="149"/>
                  </a:cubicBezTo>
                  <a:cubicBezTo>
                    <a:pt x="37" y="149"/>
                    <a:pt x="37" y="149"/>
                    <a:pt x="37" y="149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7" y="118"/>
                    <a:pt x="61" y="117"/>
                    <a:pt x="65" y="117"/>
                  </a:cubicBezTo>
                  <a:cubicBezTo>
                    <a:pt x="69" y="118"/>
                    <a:pt x="72" y="120"/>
                    <a:pt x="74" y="124"/>
                  </a:cubicBezTo>
                  <a:cubicBezTo>
                    <a:pt x="83" y="153"/>
                    <a:pt x="83" y="153"/>
                    <a:pt x="83" y="153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8" y="3"/>
                    <a:pt x="123" y="0"/>
                    <a:pt x="128" y="0"/>
                  </a:cubicBezTo>
                  <a:cubicBezTo>
                    <a:pt x="133" y="0"/>
                    <a:pt x="137" y="3"/>
                    <a:pt x="138" y="8"/>
                  </a:cubicBezTo>
                  <a:cubicBezTo>
                    <a:pt x="182" y="253"/>
                    <a:pt x="182" y="253"/>
                    <a:pt x="182" y="253"/>
                  </a:cubicBezTo>
                  <a:cubicBezTo>
                    <a:pt x="213" y="104"/>
                    <a:pt x="213" y="104"/>
                    <a:pt x="213" y="104"/>
                  </a:cubicBezTo>
                  <a:cubicBezTo>
                    <a:pt x="214" y="99"/>
                    <a:pt x="218" y="96"/>
                    <a:pt x="223" y="96"/>
                  </a:cubicBezTo>
                  <a:cubicBezTo>
                    <a:pt x="228" y="95"/>
                    <a:pt x="232" y="98"/>
                    <a:pt x="234" y="103"/>
                  </a:cubicBezTo>
                  <a:cubicBezTo>
                    <a:pt x="254" y="164"/>
                    <a:pt x="254" y="164"/>
                    <a:pt x="254" y="164"/>
                  </a:cubicBezTo>
                  <a:cubicBezTo>
                    <a:pt x="256" y="157"/>
                    <a:pt x="256" y="157"/>
                    <a:pt x="256" y="157"/>
                  </a:cubicBezTo>
                  <a:cubicBezTo>
                    <a:pt x="257" y="152"/>
                    <a:pt x="261" y="149"/>
                    <a:pt x="266" y="149"/>
                  </a:cubicBezTo>
                  <a:cubicBezTo>
                    <a:pt x="309" y="149"/>
                    <a:pt x="309" y="149"/>
                    <a:pt x="309" y="149"/>
                  </a:cubicBezTo>
                  <a:cubicBezTo>
                    <a:pt x="315" y="149"/>
                    <a:pt x="320" y="154"/>
                    <a:pt x="320" y="160"/>
                  </a:cubicBezTo>
                  <a:cubicBezTo>
                    <a:pt x="320" y="166"/>
                    <a:pt x="315" y="170"/>
                    <a:pt x="309" y="170"/>
                  </a:cubicBezTo>
                  <a:cubicBezTo>
                    <a:pt x="275" y="170"/>
                    <a:pt x="275" y="170"/>
                    <a:pt x="275" y="170"/>
                  </a:cubicBezTo>
                  <a:cubicBezTo>
                    <a:pt x="266" y="205"/>
                    <a:pt x="266" y="205"/>
                    <a:pt x="266" y="205"/>
                  </a:cubicBezTo>
                  <a:cubicBezTo>
                    <a:pt x="265" y="210"/>
                    <a:pt x="261" y="213"/>
                    <a:pt x="256" y="213"/>
                  </a:cubicBezTo>
                  <a:cubicBezTo>
                    <a:pt x="251" y="213"/>
                    <a:pt x="247" y="210"/>
                    <a:pt x="246" y="206"/>
                  </a:cubicBezTo>
                  <a:cubicBezTo>
                    <a:pt x="226" y="147"/>
                    <a:pt x="226" y="147"/>
                    <a:pt x="226" y="147"/>
                  </a:cubicBezTo>
                  <a:cubicBezTo>
                    <a:pt x="191" y="311"/>
                    <a:pt x="191" y="311"/>
                    <a:pt x="191" y="311"/>
                  </a:cubicBezTo>
                  <a:cubicBezTo>
                    <a:pt x="190" y="316"/>
                    <a:pt x="186" y="320"/>
                    <a:pt x="181" y="3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54"/>
            <p:cNvSpPr>
              <a:spLocks noEditPoints="1"/>
            </p:cNvSpPr>
            <p:nvPr/>
          </p:nvSpPr>
          <p:spPr bwMode="auto">
            <a:xfrm>
              <a:off x="5024" y="71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5" name="Group 35"/>
          <p:cNvGrpSpPr>
            <a:grpSpLocks noChangeAspect="1"/>
          </p:cNvGrpSpPr>
          <p:nvPr/>
        </p:nvGrpSpPr>
        <p:grpSpPr bwMode="auto">
          <a:xfrm>
            <a:off x="384537" y="4078565"/>
            <a:ext cx="903681" cy="903681"/>
            <a:chOff x="2709" y="6"/>
            <a:chExt cx="340" cy="340"/>
          </a:xfrm>
          <a:solidFill>
            <a:srgbClr val="63666A"/>
          </a:solidFill>
        </p:grpSpPr>
        <p:sp>
          <p:nvSpPr>
            <p:cNvPr id="26" name="Freeform 36"/>
            <p:cNvSpPr>
              <a:spLocks noEditPoints="1"/>
            </p:cNvSpPr>
            <p:nvPr/>
          </p:nvSpPr>
          <p:spPr bwMode="auto">
            <a:xfrm>
              <a:off x="2779" y="84"/>
              <a:ext cx="71" cy="92"/>
            </a:xfrm>
            <a:custGeom>
              <a:avLst/>
              <a:gdLst>
                <a:gd name="T0" fmla="*/ 54 w 107"/>
                <a:gd name="T1" fmla="*/ 139 h 139"/>
                <a:gd name="T2" fmla="*/ 61 w 107"/>
                <a:gd name="T3" fmla="*/ 136 h 139"/>
                <a:gd name="T4" fmla="*/ 107 w 107"/>
                <a:gd name="T5" fmla="*/ 53 h 139"/>
                <a:gd name="T6" fmla="*/ 54 w 107"/>
                <a:gd name="T7" fmla="*/ 0 h 139"/>
                <a:gd name="T8" fmla="*/ 0 w 107"/>
                <a:gd name="T9" fmla="*/ 53 h 139"/>
                <a:gd name="T10" fmla="*/ 46 w 107"/>
                <a:gd name="T11" fmla="*/ 136 h 139"/>
                <a:gd name="T12" fmla="*/ 54 w 107"/>
                <a:gd name="T13" fmla="*/ 139 h 139"/>
                <a:gd name="T14" fmla="*/ 54 w 107"/>
                <a:gd name="T15" fmla="*/ 21 h 139"/>
                <a:gd name="T16" fmla="*/ 86 w 107"/>
                <a:gd name="T17" fmla="*/ 53 h 139"/>
                <a:gd name="T18" fmla="*/ 54 w 107"/>
                <a:gd name="T19" fmla="*/ 113 h 139"/>
                <a:gd name="T20" fmla="*/ 22 w 107"/>
                <a:gd name="T21" fmla="*/ 53 h 139"/>
                <a:gd name="T22" fmla="*/ 54 w 107"/>
                <a:gd name="T23" fmla="*/ 2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139">
                  <a:moveTo>
                    <a:pt x="54" y="139"/>
                  </a:moveTo>
                  <a:cubicBezTo>
                    <a:pt x="56" y="139"/>
                    <a:pt x="59" y="138"/>
                    <a:pt x="61" y="136"/>
                  </a:cubicBezTo>
                  <a:cubicBezTo>
                    <a:pt x="107" y="90"/>
                    <a:pt x="107" y="55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cubicBezTo>
                    <a:pt x="24" y="0"/>
                    <a:pt x="0" y="24"/>
                    <a:pt x="0" y="53"/>
                  </a:cubicBezTo>
                  <a:cubicBezTo>
                    <a:pt x="0" y="55"/>
                    <a:pt x="0" y="90"/>
                    <a:pt x="46" y="136"/>
                  </a:cubicBezTo>
                  <a:cubicBezTo>
                    <a:pt x="48" y="138"/>
                    <a:pt x="51" y="139"/>
                    <a:pt x="54" y="139"/>
                  </a:cubicBezTo>
                  <a:close/>
                  <a:moveTo>
                    <a:pt x="54" y="21"/>
                  </a:moveTo>
                  <a:cubicBezTo>
                    <a:pt x="71" y="21"/>
                    <a:pt x="86" y="36"/>
                    <a:pt x="86" y="53"/>
                  </a:cubicBezTo>
                  <a:cubicBezTo>
                    <a:pt x="86" y="54"/>
                    <a:pt x="85" y="78"/>
                    <a:pt x="54" y="113"/>
                  </a:cubicBezTo>
                  <a:cubicBezTo>
                    <a:pt x="23" y="78"/>
                    <a:pt x="22" y="54"/>
                    <a:pt x="22" y="53"/>
                  </a:cubicBezTo>
                  <a:cubicBezTo>
                    <a:pt x="22" y="36"/>
                    <a:pt x="36" y="21"/>
                    <a:pt x="54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Oval 37"/>
            <p:cNvSpPr>
              <a:spLocks noChangeArrowheads="1"/>
            </p:cNvSpPr>
            <p:nvPr/>
          </p:nvSpPr>
          <p:spPr bwMode="auto">
            <a:xfrm>
              <a:off x="2808" y="112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8"/>
            <p:cNvSpPr>
              <a:spLocks noEditPoints="1"/>
            </p:cNvSpPr>
            <p:nvPr/>
          </p:nvSpPr>
          <p:spPr bwMode="auto">
            <a:xfrm>
              <a:off x="2808" y="105"/>
              <a:ext cx="170" cy="170"/>
            </a:xfrm>
            <a:custGeom>
              <a:avLst/>
              <a:gdLst>
                <a:gd name="T0" fmla="*/ 128 w 256"/>
                <a:gd name="T1" fmla="*/ 0 h 256"/>
                <a:gd name="T2" fmla="*/ 93 w 256"/>
                <a:gd name="T3" fmla="*/ 5 h 256"/>
                <a:gd name="T4" fmla="*/ 86 w 256"/>
                <a:gd name="T5" fmla="*/ 18 h 256"/>
                <a:gd name="T6" fmla="*/ 94 w 256"/>
                <a:gd name="T7" fmla="*/ 25 h 256"/>
                <a:gd name="T8" fmla="*/ 78 w 256"/>
                <a:gd name="T9" fmla="*/ 75 h 256"/>
                <a:gd name="T10" fmla="*/ 75 w 256"/>
                <a:gd name="T11" fmla="*/ 75 h 256"/>
                <a:gd name="T12" fmla="*/ 64 w 256"/>
                <a:gd name="T13" fmla="*/ 85 h 256"/>
                <a:gd name="T14" fmla="*/ 75 w 256"/>
                <a:gd name="T15" fmla="*/ 96 h 256"/>
                <a:gd name="T16" fmla="*/ 75 w 256"/>
                <a:gd name="T17" fmla="*/ 96 h 256"/>
                <a:gd name="T18" fmla="*/ 73 w 256"/>
                <a:gd name="T19" fmla="*/ 128 h 256"/>
                <a:gd name="T20" fmla="*/ 75 w 256"/>
                <a:gd name="T21" fmla="*/ 160 h 256"/>
                <a:gd name="T22" fmla="*/ 26 w 256"/>
                <a:gd name="T23" fmla="*/ 160 h 256"/>
                <a:gd name="T24" fmla="*/ 22 w 256"/>
                <a:gd name="T25" fmla="*/ 138 h 256"/>
                <a:gd name="T26" fmla="*/ 10 w 256"/>
                <a:gd name="T27" fmla="*/ 128 h 256"/>
                <a:gd name="T28" fmla="*/ 1 w 256"/>
                <a:gd name="T29" fmla="*/ 140 h 256"/>
                <a:gd name="T30" fmla="*/ 128 w 256"/>
                <a:gd name="T31" fmla="*/ 256 h 256"/>
                <a:gd name="T32" fmla="*/ 256 w 256"/>
                <a:gd name="T33" fmla="*/ 128 h 256"/>
                <a:gd name="T34" fmla="*/ 128 w 256"/>
                <a:gd name="T35" fmla="*/ 0 h 256"/>
                <a:gd name="T36" fmla="*/ 36 w 256"/>
                <a:gd name="T37" fmla="*/ 181 h 256"/>
                <a:gd name="T38" fmla="*/ 78 w 256"/>
                <a:gd name="T39" fmla="*/ 181 h 256"/>
                <a:gd name="T40" fmla="*/ 93 w 256"/>
                <a:gd name="T41" fmla="*/ 229 h 256"/>
                <a:gd name="T42" fmla="*/ 36 w 256"/>
                <a:gd name="T43" fmla="*/ 181 h 256"/>
                <a:gd name="T44" fmla="*/ 220 w 256"/>
                <a:gd name="T45" fmla="*/ 75 h 256"/>
                <a:gd name="T46" fmla="*/ 178 w 256"/>
                <a:gd name="T47" fmla="*/ 75 h 256"/>
                <a:gd name="T48" fmla="*/ 163 w 256"/>
                <a:gd name="T49" fmla="*/ 27 h 256"/>
                <a:gd name="T50" fmla="*/ 220 w 256"/>
                <a:gd name="T51" fmla="*/ 75 h 256"/>
                <a:gd name="T52" fmla="*/ 128 w 256"/>
                <a:gd name="T53" fmla="*/ 21 h 256"/>
                <a:gd name="T54" fmla="*/ 156 w 256"/>
                <a:gd name="T55" fmla="*/ 75 h 256"/>
                <a:gd name="T56" fmla="*/ 100 w 256"/>
                <a:gd name="T57" fmla="*/ 75 h 256"/>
                <a:gd name="T58" fmla="*/ 128 w 256"/>
                <a:gd name="T59" fmla="*/ 21 h 256"/>
                <a:gd name="T60" fmla="*/ 128 w 256"/>
                <a:gd name="T61" fmla="*/ 235 h 256"/>
                <a:gd name="T62" fmla="*/ 100 w 256"/>
                <a:gd name="T63" fmla="*/ 181 h 256"/>
                <a:gd name="T64" fmla="*/ 156 w 256"/>
                <a:gd name="T65" fmla="*/ 181 h 256"/>
                <a:gd name="T66" fmla="*/ 128 w 256"/>
                <a:gd name="T67" fmla="*/ 235 h 256"/>
                <a:gd name="T68" fmla="*/ 160 w 256"/>
                <a:gd name="T69" fmla="*/ 160 h 256"/>
                <a:gd name="T70" fmla="*/ 96 w 256"/>
                <a:gd name="T71" fmla="*/ 160 h 256"/>
                <a:gd name="T72" fmla="*/ 95 w 256"/>
                <a:gd name="T73" fmla="*/ 128 h 256"/>
                <a:gd name="T74" fmla="*/ 96 w 256"/>
                <a:gd name="T75" fmla="*/ 96 h 256"/>
                <a:gd name="T76" fmla="*/ 160 w 256"/>
                <a:gd name="T77" fmla="*/ 96 h 256"/>
                <a:gd name="T78" fmla="*/ 161 w 256"/>
                <a:gd name="T79" fmla="*/ 128 h 256"/>
                <a:gd name="T80" fmla="*/ 160 w 256"/>
                <a:gd name="T81" fmla="*/ 160 h 256"/>
                <a:gd name="T82" fmla="*/ 163 w 256"/>
                <a:gd name="T83" fmla="*/ 229 h 256"/>
                <a:gd name="T84" fmla="*/ 178 w 256"/>
                <a:gd name="T85" fmla="*/ 181 h 256"/>
                <a:gd name="T86" fmla="*/ 220 w 256"/>
                <a:gd name="T87" fmla="*/ 181 h 256"/>
                <a:gd name="T88" fmla="*/ 163 w 256"/>
                <a:gd name="T89" fmla="*/ 229 h 256"/>
                <a:gd name="T90" fmla="*/ 181 w 256"/>
                <a:gd name="T91" fmla="*/ 160 h 256"/>
                <a:gd name="T92" fmla="*/ 183 w 256"/>
                <a:gd name="T93" fmla="*/ 128 h 256"/>
                <a:gd name="T94" fmla="*/ 181 w 256"/>
                <a:gd name="T95" fmla="*/ 96 h 256"/>
                <a:gd name="T96" fmla="*/ 230 w 256"/>
                <a:gd name="T97" fmla="*/ 96 h 256"/>
                <a:gd name="T98" fmla="*/ 235 w 256"/>
                <a:gd name="T99" fmla="*/ 128 h 256"/>
                <a:gd name="T100" fmla="*/ 230 w 256"/>
                <a:gd name="T101" fmla="*/ 160 h 256"/>
                <a:gd name="T102" fmla="*/ 181 w 256"/>
                <a:gd name="T103" fmla="*/ 16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6" h="256">
                  <a:moveTo>
                    <a:pt x="128" y="0"/>
                  </a:moveTo>
                  <a:cubicBezTo>
                    <a:pt x="116" y="0"/>
                    <a:pt x="104" y="2"/>
                    <a:pt x="93" y="5"/>
                  </a:cubicBezTo>
                  <a:cubicBezTo>
                    <a:pt x="87" y="6"/>
                    <a:pt x="84" y="12"/>
                    <a:pt x="86" y="18"/>
                  </a:cubicBezTo>
                  <a:cubicBezTo>
                    <a:pt x="87" y="22"/>
                    <a:pt x="90" y="25"/>
                    <a:pt x="94" y="25"/>
                  </a:cubicBezTo>
                  <a:cubicBezTo>
                    <a:pt x="87" y="39"/>
                    <a:pt x="81" y="56"/>
                    <a:pt x="78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69" y="75"/>
                    <a:pt x="64" y="79"/>
                    <a:pt x="64" y="85"/>
                  </a:cubicBezTo>
                  <a:cubicBezTo>
                    <a:pt x="64" y="91"/>
                    <a:pt x="69" y="96"/>
                    <a:pt x="75" y="96"/>
                  </a:cubicBezTo>
                  <a:cubicBezTo>
                    <a:pt x="75" y="96"/>
                    <a:pt x="75" y="96"/>
                    <a:pt x="75" y="96"/>
                  </a:cubicBezTo>
                  <a:cubicBezTo>
                    <a:pt x="74" y="106"/>
                    <a:pt x="73" y="117"/>
                    <a:pt x="73" y="128"/>
                  </a:cubicBezTo>
                  <a:cubicBezTo>
                    <a:pt x="73" y="139"/>
                    <a:pt x="74" y="150"/>
                    <a:pt x="75" y="160"/>
                  </a:cubicBezTo>
                  <a:cubicBezTo>
                    <a:pt x="26" y="160"/>
                    <a:pt x="26" y="160"/>
                    <a:pt x="26" y="160"/>
                  </a:cubicBezTo>
                  <a:cubicBezTo>
                    <a:pt x="24" y="153"/>
                    <a:pt x="22" y="145"/>
                    <a:pt x="22" y="138"/>
                  </a:cubicBezTo>
                  <a:cubicBezTo>
                    <a:pt x="21" y="132"/>
                    <a:pt x="16" y="127"/>
                    <a:pt x="10" y="128"/>
                  </a:cubicBezTo>
                  <a:cubicBezTo>
                    <a:pt x="4" y="129"/>
                    <a:pt x="0" y="134"/>
                    <a:pt x="1" y="140"/>
                  </a:cubicBezTo>
                  <a:cubicBezTo>
                    <a:pt x="6" y="206"/>
                    <a:pt x="61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ubicBezTo>
                    <a:pt x="256" y="57"/>
                    <a:pt x="199" y="0"/>
                    <a:pt x="128" y="0"/>
                  </a:cubicBezTo>
                  <a:close/>
                  <a:moveTo>
                    <a:pt x="36" y="181"/>
                  </a:moveTo>
                  <a:cubicBezTo>
                    <a:pt x="78" y="181"/>
                    <a:pt x="78" y="181"/>
                    <a:pt x="78" y="181"/>
                  </a:cubicBezTo>
                  <a:cubicBezTo>
                    <a:pt x="81" y="200"/>
                    <a:pt x="86" y="216"/>
                    <a:pt x="93" y="229"/>
                  </a:cubicBezTo>
                  <a:cubicBezTo>
                    <a:pt x="69" y="220"/>
                    <a:pt x="48" y="204"/>
                    <a:pt x="36" y="181"/>
                  </a:cubicBezTo>
                  <a:close/>
                  <a:moveTo>
                    <a:pt x="220" y="75"/>
                  </a:moveTo>
                  <a:cubicBezTo>
                    <a:pt x="178" y="75"/>
                    <a:pt x="178" y="75"/>
                    <a:pt x="178" y="75"/>
                  </a:cubicBezTo>
                  <a:cubicBezTo>
                    <a:pt x="175" y="57"/>
                    <a:pt x="170" y="40"/>
                    <a:pt x="163" y="27"/>
                  </a:cubicBezTo>
                  <a:cubicBezTo>
                    <a:pt x="187" y="36"/>
                    <a:pt x="207" y="53"/>
                    <a:pt x="220" y="75"/>
                  </a:cubicBezTo>
                  <a:close/>
                  <a:moveTo>
                    <a:pt x="128" y="21"/>
                  </a:moveTo>
                  <a:cubicBezTo>
                    <a:pt x="137" y="21"/>
                    <a:pt x="150" y="41"/>
                    <a:pt x="156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6" y="41"/>
                    <a:pt x="119" y="21"/>
                    <a:pt x="128" y="21"/>
                  </a:cubicBezTo>
                  <a:close/>
                  <a:moveTo>
                    <a:pt x="128" y="235"/>
                  </a:moveTo>
                  <a:cubicBezTo>
                    <a:pt x="119" y="235"/>
                    <a:pt x="106" y="215"/>
                    <a:pt x="100" y="181"/>
                  </a:cubicBezTo>
                  <a:cubicBezTo>
                    <a:pt x="156" y="181"/>
                    <a:pt x="156" y="181"/>
                    <a:pt x="156" y="181"/>
                  </a:cubicBezTo>
                  <a:cubicBezTo>
                    <a:pt x="150" y="215"/>
                    <a:pt x="137" y="235"/>
                    <a:pt x="128" y="235"/>
                  </a:cubicBezTo>
                  <a:close/>
                  <a:moveTo>
                    <a:pt x="160" y="160"/>
                  </a:moveTo>
                  <a:cubicBezTo>
                    <a:pt x="96" y="160"/>
                    <a:pt x="96" y="160"/>
                    <a:pt x="96" y="160"/>
                  </a:cubicBezTo>
                  <a:cubicBezTo>
                    <a:pt x="95" y="150"/>
                    <a:pt x="95" y="139"/>
                    <a:pt x="95" y="128"/>
                  </a:cubicBezTo>
                  <a:cubicBezTo>
                    <a:pt x="95" y="117"/>
                    <a:pt x="95" y="106"/>
                    <a:pt x="96" y="96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61" y="106"/>
                    <a:pt x="161" y="117"/>
                    <a:pt x="161" y="128"/>
                  </a:cubicBezTo>
                  <a:cubicBezTo>
                    <a:pt x="161" y="139"/>
                    <a:pt x="161" y="150"/>
                    <a:pt x="160" y="160"/>
                  </a:cubicBezTo>
                  <a:close/>
                  <a:moveTo>
                    <a:pt x="163" y="229"/>
                  </a:moveTo>
                  <a:cubicBezTo>
                    <a:pt x="170" y="216"/>
                    <a:pt x="175" y="199"/>
                    <a:pt x="178" y="181"/>
                  </a:cubicBezTo>
                  <a:cubicBezTo>
                    <a:pt x="220" y="181"/>
                    <a:pt x="220" y="181"/>
                    <a:pt x="220" y="181"/>
                  </a:cubicBezTo>
                  <a:cubicBezTo>
                    <a:pt x="207" y="203"/>
                    <a:pt x="187" y="220"/>
                    <a:pt x="163" y="229"/>
                  </a:cubicBezTo>
                  <a:close/>
                  <a:moveTo>
                    <a:pt x="181" y="160"/>
                  </a:moveTo>
                  <a:cubicBezTo>
                    <a:pt x="182" y="150"/>
                    <a:pt x="183" y="139"/>
                    <a:pt x="183" y="128"/>
                  </a:cubicBezTo>
                  <a:cubicBezTo>
                    <a:pt x="183" y="117"/>
                    <a:pt x="182" y="106"/>
                    <a:pt x="181" y="96"/>
                  </a:cubicBezTo>
                  <a:cubicBezTo>
                    <a:pt x="230" y="96"/>
                    <a:pt x="230" y="96"/>
                    <a:pt x="230" y="96"/>
                  </a:cubicBezTo>
                  <a:cubicBezTo>
                    <a:pt x="233" y="106"/>
                    <a:pt x="235" y="117"/>
                    <a:pt x="235" y="128"/>
                  </a:cubicBezTo>
                  <a:cubicBezTo>
                    <a:pt x="235" y="139"/>
                    <a:pt x="233" y="150"/>
                    <a:pt x="230" y="160"/>
                  </a:cubicBezTo>
                  <a:lnTo>
                    <a:pt x="181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9"/>
            <p:cNvSpPr>
              <a:spLocks noEditPoints="1"/>
            </p:cNvSpPr>
            <p:nvPr/>
          </p:nvSpPr>
          <p:spPr bwMode="auto">
            <a:xfrm>
              <a:off x="2709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166955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979" y="472965"/>
            <a:ext cx="8718331" cy="5699028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Lo que </a:t>
            </a:r>
            <a:r>
              <a:rPr lang="en-AU" dirty="0" err="1" smtClean="0"/>
              <a:t>necesitamos</a:t>
            </a:r>
            <a:r>
              <a:rPr lang="en-AU" dirty="0" smtClean="0"/>
              <a:t> </a:t>
            </a:r>
            <a:r>
              <a:rPr lang="en-AU" dirty="0" err="1" smtClean="0"/>
              <a:t>hacer</a:t>
            </a: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 smtClean="0"/>
              <a:t>Hoja</a:t>
            </a:r>
            <a:r>
              <a:rPr lang="en-AU" dirty="0" smtClean="0"/>
              <a:t> de </a:t>
            </a:r>
            <a:r>
              <a:rPr lang="en-AU" dirty="0" err="1" smtClean="0"/>
              <a:t>ruta</a:t>
            </a:r>
            <a:endParaRPr lang="en-AU" dirty="0"/>
          </a:p>
        </p:txBody>
      </p:sp>
      <p:sp>
        <p:nvSpPr>
          <p:cNvPr id="21" name="Rectangle 20"/>
          <p:cNvSpPr/>
          <p:nvPr/>
        </p:nvSpPr>
        <p:spPr>
          <a:xfrm>
            <a:off x="1261361" y="3288770"/>
            <a:ext cx="17704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AR" sz="1600" b="1" dirty="0" smtClean="0">
                <a:solidFill>
                  <a:schemeClr val="accent1"/>
                </a:solidFill>
              </a:rPr>
              <a:t>Desarrollo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285835" y="4384578"/>
            <a:ext cx="17411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AR" sz="1600" b="1" dirty="0" smtClean="0">
                <a:solidFill>
                  <a:srgbClr val="97999B"/>
                </a:solidFill>
              </a:rPr>
              <a:t>Escalabilidad</a:t>
            </a:r>
            <a:endParaRPr lang="es-AR" sz="1600" b="1" dirty="0">
              <a:solidFill>
                <a:srgbClr val="97999B"/>
              </a:solidFill>
            </a:endParaRPr>
          </a:p>
        </p:txBody>
      </p:sp>
      <p:sp>
        <p:nvSpPr>
          <p:cNvPr id="27" name="Freeform 351"/>
          <p:cNvSpPr>
            <a:spLocks noChangeAspect="1" noEditPoints="1"/>
          </p:cNvSpPr>
          <p:nvPr/>
        </p:nvSpPr>
        <p:spPr bwMode="auto">
          <a:xfrm>
            <a:off x="346941" y="3055703"/>
            <a:ext cx="832065" cy="832065"/>
          </a:xfrm>
          <a:custGeom>
            <a:avLst/>
            <a:gdLst>
              <a:gd name="T0" fmla="*/ 128 w 512"/>
              <a:gd name="T1" fmla="*/ 331 h 512"/>
              <a:gd name="T2" fmla="*/ 152 w 512"/>
              <a:gd name="T3" fmla="*/ 331 h 512"/>
              <a:gd name="T4" fmla="*/ 128 w 512"/>
              <a:gd name="T5" fmla="*/ 256 h 512"/>
              <a:gd name="T6" fmla="*/ 256 w 512"/>
              <a:gd name="T7" fmla="*/ 128 h 512"/>
              <a:gd name="T8" fmla="*/ 384 w 512"/>
              <a:gd name="T9" fmla="*/ 256 h 512"/>
              <a:gd name="T10" fmla="*/ 256 w 512"/>
              <a:gd name="T11" fmla="*/ 384 h 512"/>
              <a:gd name="T12" fmla="*/ 245 w 512"/>
              <a:gd name="T13" fmla="*/ 373 h 512"/>
              <a:gd name="T14" fmla="*/ 256 w 512"/>
              <a:gd name="T15" fmla="*/ 363 h 512"/>
              <a:gd name="T16" fmla="*/ 362 w 512"/>
              <a:gd name="T17" fmla="*/ 256 h 512"/>
              <a:gd name="T18" fmla="*/ 256 w 512"/>
              <a:gd name="T19" fmla="*/ 149 h 512"/>
              <a:gd name="T20" fmla="*/ 149 w 512"/>
              <a:gd name="T21" fmla="*/ 256 h 512"/>
              <a:gd name="T22" fmla="*/ 170 w 512"/>
              <a:gd name="T23" fmla="*/ 320 h 512"/>
              <a:gd name="T24" fmla="*/ 170 w 512"/>
              <a:gd name="T25" fmla="*/ 288 h 512"/>
              <a:gd name="T26" fmla="*/ 180 w 512"/>
              <a:gd name="T27" fmla="*/ 277 h 512"/>
              <a:gd name="T28" fmla="*/ 191 w 512"/>
              <a:gd name="T29" fmla="*/ 288 h 512"/>
              <a:gd name="T30" fmla="*/ 191 w 512"/>
              <a:gd name="T31" fmla="*/ 341 h 512"/>
              <a:gd name="T32" fmla="*/ 181 w 512"/>
              <a:gd name="T33" fmla="*/ 353 h 512"/>
              <a:gd name="T34" fmla="*/ 128 w 512"/>
              <a:gd name="T35" fmla="*/ 353 h 512"/>
              <a:gd name="T36" fmla="*/ 117 w 512"/>
              <a:gd name="T37" fmla="*/ 342 h 512"/>
              <a:gd name="T38" fmla="*/ 128 w 512"/>
              <a:gd name="T39" fmla="*/ 331 h 512"/>
              <a:gd name="T40" fmla="*/ 280 w 512"/>
              <a:gd name="T41" fmla="*/ 227 h 512"/>
              <a:gd name="T42" fmla="*/ 256 w 512"/>
              <a:gd name="T43" fmla="*/ 252 h 512"/>
              <a:gd name="T44" fmla="*/ 213 w 512"/>
              <a:gd name="T45" fmla="*/ 208 h 512"/>
              <a:gd name="T46" fmla="*/ 197 w 512"/>
              <a:gd name="T47" fmla="*/ 208 h 512"/>
              <a:gd name="T48" fmla="*/ 197 w 512"/>
              <a:gd name="T49" fmla="*/ 224 h 512"/>
              <a:gd name="T50" fmla="*/ 248 w 512"/>
              <a:gd name="T51" fmla="*/ 274 h 512"/>
              <a:gd name="T52" fmla="*/ 256 w 512"/>
              <a:gd name="T53" fmla="*/ 277 h 512"/>
              <a:gd name="T54" fmla="*/ 263 w 512"/>
              <a:gd name="T55" fmla="*/ 274 h 512"/>
              <a:gd name="T56" fmla="*/ 295 w 512"/>
              <a:gd name="T57" fmla="*/ 242 h 512"/>
              <a:gd name="T58" fmla="*/ 295 w 512"/>
              <a:gd name="T59" fmla="*/ 227 h 512"/>
              <a:gd name="T60" fmla="*/ 280 w 512"/>
              <a:gd name="T61" fmla="*/ 227 h 512"/>
              <a:gd name="T62" fmla="*/ 256 w 512"/>
              <a:gd name="T63" fmla="*/ 21 h 512"/>
              <a:gd name="T64" fmla="*/ 490 w 512"/>
              <a:gd name="T65" fmla="*/ 256 h 512"/>
              <a:gd name="T66" fmla="*/ 256 w 512"/>
              <a:gd name="T67" fmla="*/ 491 h 512"/>
              <a:gd name="T68" fmla="*/ 21 w 512"/>
              <a:gd name="T69" fmla="*/ 256 h 512"/>
              <a:gd name="T70" fmla="*/ 256 w 512"/>
              <a:gd name="T71" fmla="*/ 21 h 512"/>
              <a:gd name="T72" fmla="*/ 256 w 512"/>
              <a:gd name="T73" fmla="*/ 0 h 512"/>
              <a:gd name="T74" fmla="*/ 0 w 512"/>
              <a:gd name="T75" fmla="*/ 256 h 512"/>
              <a:gd name="T76" fmla="*/ 256 w 512"/>
              <a:gd name="T77" fmla="*/ 512 h 512"/>
              <a:gd name="T78" fmla="*/ 512 w 512"/>
              <a:gd name="T79" fmla="*/ 256 h 512"/>
              <a:gd name="T80" fmla="*/ 256 w 512"/>
              <a:gd name="T81" fmla="*/ 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2" h="512">
                <a:moveTo>
                  <a:pt x="128" y="331"/>
                </a:moveTo>
                <a:cubicBezTo>
                  <a:pt x="152" y="331"/>
                  <a:pt x="152" y="331"/>
                  <a:pt x="152" y="331"/>
                </a:cubicBezTo>
                <a:cubicBezTo>
                  <a:pt x="136" y="310"/>
                  <a:pt x="128" y="283"/>
                  <a:pt x="128" y="256"/>
                </a:cubicBezTo>
                <a:cubicBezTo>
                  <a:pt x="128" y="186"/>
                  <a:pt x="185" y="128"/>
                  <a:pt x="256" y="128"/>
                </a:cubicBezTo>
                <a:cubicBezTo>
                  <a:pt x="326" y="128"/>
                  <a:pt x="384" y="186"/>
                  <a:pt x="384" y="256"/>
                </a:cubicBezTo>
                <a:cubicBezTo>
                  <a:pt x="384" y="327"/>
                  <a:pt x="326" y="384"/>
                  <a:pt x="256" y="384"/>
                </a:cubicBezTo>
                <a:cubicBezTo>
                  <a:pt x="250" y="384"/>
                  <a:pt x="245" y="379"/>
                  <a:pt x="245" y="373"/>
                </a:cubicBezTo>
                <a:cubicBezTo>
                  <a:pt x="245" y="367"/>
                  <a:pt x="250" y="363"/>
                  <a:pt x="256" y="363"/>
                </a:cubicBezTo>
                <a:cubicBezTo>
                  <a:pt x="314" y="363"/>
                  <a:pt x="362" y="315"/>
                  <a:pt x="362" y="256"/>
                </a:cubicBezTo>
                <a:cubicBezTo>
                  <a:pt x="362" y="197"/>
                  <a:pt x="314" y="149"/>
                  <a:pt x="256" y="149"/>
                </a:cubicBezTo>
                <a:cubicBezTo>
                  <a:pt x="197" y="149"/>
                  <a:pt x="149" y="197"/>
                  <a:pt x="149" y="256"/>
                </a:cubicBezTo>
                <a:cubicBezTo>
                  <a:pt x="149" y="279"/>
                  <a:pt x="156" y="302"/>
                  <a:pt x="170" y="320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70" y="282"/>
                  <a:pt x="174" y="277"/>
                  <a:pt x="180" y="277"/>
                </a:cubicBezTo>
                <a:cubicBezTo>
                  <a:pt x="186" y="277"/>
                  <a:pt x="191" y="282"/>
                  <a:pt x="191" y="288"/>
                </a:cubicBezTo>
                <a:cubicBezTo>
                  <a:pt x="191" y="341"/>
                  <a:pt x="191" y="341"/>
                  <a:pt x="191" y="341"/>
                </a:cubicBezTo>
                <a:cubicBezTo>
                  <a:pt x="191" y="347"/>
                  <a:pt x="187" y="353"/>
                  <a:pt x="181" y="353"/>
                </a:cubicBezTo>
                <a:cubicBezTo>
                  <a:pt x="128" y="353"/>
                  <a:pt x="128" y="353"/>
                  <a:pt x="128" y="353"/>
                </a:cubicBezTo>
                <a:cubicBezTo>
                  <a:pt x="122" y="353"/>
                  <a:pt x="117" y="348"/>
                  <a:pt x="117" y="342"/>
                </a:cubicBezTo>
                <a:cubicBezTo>
                  <a:pt x="117" y="336"/>
                  <a:pt x="122" y="331"/>
                  <a:pt x="128" y="331"/>
                </a:cubicBezTo>
                <a:close/>
                <a:moveTo>
                  <a:pt x="280" y="227"/>
                </a:moveTo>
                <a:cubicBezTo>
                  <a:pt x="256" y="252"/>
                  <a:pt x="256" y="252"/>
                  <a:pt x="256" y="252"/>
                </a:cubicBezTo>
                <a:cubicBezTo>
                  <a:pt x="213" y="208"/>
                  <a:pt x="213" y="208"/>
                  <a:pt x="213" y="208"/>
                </a:cubicBezTo>
                <a:cubicBezTo>
                  <a:pt x="208" y="204"/>
                  <a:pt x="202" y="204"/>
                  <a:pt x="197" y="208"/>
                </a:cubicBezTo>
                <a:cubicBezTo>
                  <a:pt x="193" y="213"/>
                  <a:pt x="193" y="219"/>
                  <a:pt x="197" y="224"/>
                </a:cubicBezTo>
                <a:cubicBezTo>
                  <a:pt x="248" y="274"/>
                  <a:pt x="248" y="274"/>
                  <a:pt x="248" y="274"/>
                </a:cubicBezTo>
                <a:cubicBezTo>
                  <a:pt x="250" y="276"/>
                  <a:pt x="253" y="277"/>
                  <a:pt x="256" y="277"/>
                </a:cubicBezTo>
                <a:cubicBezTo>
                  <a:pt x="258" y="277"/>
                  <a:pt x="261" y="276"/>
                  <a:pt x="263" y="274"/>
                </a:cubicBezTo>
                <a:cubicBezTo>
                  <a:pt x="295" y="242"/>
                  <a:pt x="295" y="242"/>
                  <a:pt x="295" y="242"/>
                </a:cubicBezTo>
                <a:cubicBezTo>
                  <a:pt x="299" y="238"/>
                  <a:pt x="299" y="231"/>
                  <a:pt x="295" y="227"/>
                </a:cubicBezTo>
                <a:cubicBezTo>
                  <a:pt x="291" y="223"/>
                  <a:pt x="284" y="223"/>
                  <a:pt x="280" y="227"/>
                </a:cubicBezTo>
                <a:close/>
                <a:moveTo>
                  <a:pt x="256" y="21"/>
                </a:moveTo>
                <a:cubicBezTo>
                  <a:pt x="385" y="21"/>
                  <a:pt x="490" y="127"/>
                  <a:pt x="490" y="256"/>
                </a:cubicBezTo>
                <a:cubicBezTo>
                  <a:pt x="490" y="385"/>
                  <a:pt x="385" y="491"/>
                  <a:pt x="256" y="491"/>
                </a:cubicBezTo>
                <a:cubicBezTo>
                  <a:pt x="126" y="491"/>
                  <a:pt x="21" y="385"/>
                  <a:pt x="21" y="256"/>
                </a:cubicBezTo>
                <a:cubicBezTo>
                  <a:pt x="21" y="127"/>
                  <a:pt x="126" y="21"/>
                  <a:pt x="256" y="21"/>
                </a:cubicBezTo>
                <a:moveTo>
                  <a:pt x="256" y="0"/>
                </a:moveTo>
                <a:cubicBezTo>
                  <a:pt x="114" y="0"/>
                  <a:pt x="0" y="115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5"/>
                  <a:pt x="397" y="0"/>
                  <a:pt x="25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8" name="Group 578"/>
          <p:cNvGrpSpPr>
            <a:grpSpLocks noChangeAspect="1"/>
          </p:cNvGrpSpPr>
          <p:nvPr/>
        </p:nvGrpSpPr>
        <p:grpSpPr bwMode="auto">
          <a:xfrm>
            <a:off x="346941" y="4125400"/>
            <a:ext cx="832065" cy="832065"/>
            <a:chOff x="1932" y="2478"/>
            <a:chExt cx="340" cy="340"/>
          </a:xfrm>
          <a:solidFill>
            <a:srgbClr val="63666A"/>
          </a:solidFill>
        </p:grpSpPr>
        <p:sp>
          <p:nvSpPr>
            <p:cNvPr id="29" name="Freeform 579"/>
            <p:cNvSpPr>
              <a:spLocks noEditPoints="1"/>
            </p:cNvSpPr>
            <p:nvPr/>
          </p:nvSpPr>
          <p:spPr bwMode="auto">
            <a:xfrm>
              <a:off x="1996" y="2548"/>
              <a:ext cx="202" cy="185"/>
            </a:xfrm>
            <a:custGeom>
              <a:avLst/>
              <a:gdLst>
                <a:gd name="T0" fmla="*/ 298 w 304"/>
                <a:gd name="T1" fmla="*/ 160 h 278"/>
                <a:gd name="T2" fmla="*/ 234 w 304"/>
                <a:gd name="T3" fmla="*/ 96 h 278"/>
                <a:gd name="T4" fmla="*/ 196 w 304"/>
                <a:gd name="T5" fmla="*/ 96 h 278"/>
                <a:gd name="T6" fmla="*/ 213 w 304"/>
                <a:gd name="T7" fmla="*/ 46 h 278"/>
                <a:gd name="T8" fmla="*/ 199 w 304"/>
                <a:gd name="T9" fmla="*/ 3 h 278"/>
                <a:gd name="T10" fmla="*/ 191 w 304"/>
                <a:gd name="T11" fmla="*/ 0 h 278"/>
                <a:gd name="T12" fmla="*/ 184 w 304"/>
                <a:gd name="T13" fmla="*/ 4 h 278"/>
                <a:gd name="T14" fmla="*/ 89 w 304"/>
                <a:gd name="T15" fmla="*/ 112 h 278"/>
                <a:gd name="T16" fmla="*/ 88 w 304"/>
                <a:gd name="T17" fmla="*/ 114 h 278"/>
                <a:gd name="T18" fmla="*/ 79 w 304"/>
                <a:gd name="T19" fmla="*/ 128 h 278"/>
                <a:gd name="T20" fmla="*/ 10 w 304"/>
                <a:gd name="T21" fmla="*/ 128 h 278"/>
                <a:gd name="T22" fmla="*/ 0 w 304"/>
                <a:gd name="T23" fmla="*/ 139 h 278"/>
                <a:gd name="T24" fmla="*/ 0 w 304"/>
                <a:gd name="T25" fmla="*/ 256 h 278"/>
                <a:gd name="T26" fmla="*/ 10 w 304"/>
                <a:gd name="T27" fmla="*/ 267 h 278"/>
                <a:gd name="T28" fmla="*/ 95 w 304"/>
                <a:gd name="T29" fmla="*/ 267 h 278"/>
                <a:gd name="T30" fmla="*/ 128 w 304"/>
                <a:gd name="T31" fmla="*/ 278 h 278"/>
                <a:gd name="T32" fmla="*/ 224 w 304"/>
                <a:gd name="T33" fmla="*/ 278 h 278"/>
                <a:gd name="T34" fmla="*/ 274 w 304"/>
                <a:gd name="T35" fmla="*/ 256 h 278"/>
                <a:gd name="T36" fmla="*/ 298 w 304"/>
                <a:gd name="T37" fmla="*/ 160 h 278"/>
                <a:gd name="T38" fmla="*/ 21 w 304"/>
                <a:gd name="T39" fmla="*/ 150 h 278"/>
                <a:gd name="T40" fmla="*/ 74 w 304"/>
                <a:gd name="T41" fmla="*/ 150 h 278"/>
                <a:gd name="T42" fmla="*/ 74 w 304"/>
                <a:gd name="T43" fmla="*/ 150 h 278"/>
                <a:gd name="T44" fmla="*/ 74 w 304"/>
                <a:gd name="T45" fmla="*/ 224 h 278"/>
                <a:gd name="T46" fmla="*/ 78 w 304"/>
                <a:gd name="T47" fmla="*/ 246 h 278"/>
                <a:gd name="T48" fmla="*/ 21 w 304"/>
                <a:gd name="T49" fmla="*/ 246 h 278"/>
                <a:gd name="T50" fmla="*/ 21 w 304"/>
                <a:gd name="T51" fmla="*/ 150 h 278"/>
                <a:gd name="T52" fmla="*/ 258 w 304"/>
                <a:gd name="T53" fmla="*/ 242 h 278"/>
                <a:gd name="T54" fmla="*/ 224 w 304"/>
                <a:gd name="T55" fmla="*/ 256 h 278"/>
                <a:gd name="T56" fmla="*/ 128 w 304"/>
                <a:gd name="T57" fmla="*/ 256 h 278"/>
                <a:gd name="T58" fmla="*/ 96 w 304"/>
                <a:gd name="T59" fmla="*/ 224 h 278"/>
                <a:gd name="T60" fmla="*/ 96 w 304"/>
                <a:gd name="T61" fmla="*/ 150 h 278"/>
                <a:gd name="T62" fmla="*/ 104 w 304"/>
                <a:gd name="T63" fmla="*/ 127 h 278"/>
                <a:gd name="T64" fmla="*/ 105 w 304"/>
                <a:gd name="T65" fmla="*/ 127 h 278"/>
                <a:gd name="T66" fmla="*/ 191 w 304"/>
                <a:gd name="T67" fmla="*/ 28 h 278"/>
                <a:gd name="T68" fmla="*/ 192 w 304"/>
                <a:gd name="T69" fmla="*/ 40 h 278"/>
                <a:gd name="T70" fmla="*/ 171 w 304"/>
                <a:gd name="T71" fmla="*/ 104 h 278"/>
                <a:gd name="T72" fmla="*/ 171 w 304"/>
                <a:gd name="T73" fmla="*/ 104 h 278"/>
                <a:gd name="T74" fmla="*/ 170 w 304"/>
                <a:gd name="T75" fmla="*/ 107 h 278"/>
                <a:gd name="T76" fmla="*/ 181 w 304"/>
                <a:gd name="T77" fmla="*/ 118 h 278"/>
                <a:gd name="T78" fmla="*/ 234 w 304"/>
                <a:gd name="T79" fmla="*/ 118 h 278"/>
                <a:gd name="T80" fmla="*/ 277 w 304"/>
                <a:gd name="T81" fmla="*/ 161 h 278"/>
                <a:gd name="T82" fmla="*/ 258 w 304"/>
                <a:gd name="T83" fmla="*/ 24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04" h="278">
                  <a:moveTo>
                    <a:pt x="298" y="160"/>
                  </a:moveTo>
                  <a:cubicBezTo>
                    <a:pt x="298" y="129"/>
                    <a:pt x="265" y="96"/>
                    <a:pt x="234" y="96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213" y="46"/>
                    <a:pt x="213" y="46"/>
                    <a:pt x="213" y="46"/>
                  </a:cubicBezTo>
                  <a:cubicBezTo>
                    <a:pt x="219" y="23"/>
                    <a:pt x="200" y="4"/>
                    <a:pt x="199" y="3"/>
                  </a:cubicBezTo>
                  <a:cubicBezTo>
                    <a:pt x="197" y="1"/>
                    <a:pt x="194" y="0"/>
                    <a:pt x="191" y="0"/>
                  </a:cubicBezTo>
                  <a:cubicBezTo>
                    <a:pt x="188" y="0"/>
                    <a:pt x="186" y="2"/>
                    <a:pt x="184" y="4"/>
                  </a:cubicBezTo>
                  <a:cubicBezTo>
                    <a:pt x="89" y="112"/>
                    <a:pt x="89" y="112"/>
                    <a:pt x="89" y="112"/>
                  </a:cubicBezTo>
                  <a:cubicBezTo>
                    <a:pt x="89" y="112"/>
                    <a:pt x="89" y="112"/>
                    <a:pt x="88" y="114"/>
                  </a:cubicBezTo>
                  <a:cubicBezTo>
                    <a:pt x="84" y="118"/>
                    <a:pt x="81" y="123"/>
                    <a:pt x="79" y="128"/>
                  </a:cubicBezTo>
                  <a:cubicBezTo>
                    <a:pt x="10" y="128"/>
                    <a:pt x="10" y="128"/>
                    <a:pt x="10" y="128"/>
                  </a:cubicBezTo>
                  <a:cubicBezTo>
                    <a:pt x="4" y="128"/>
                    <a:pt x="0" y="133"/>
                    <a:pt x="0" y="139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4" y="267"/>
                    <a:pt x="10" y="267"/>
                  </a:cubicBezTo>
                  <a:cubicBezTo>
                    <a:pt x="95" y="267"/>
                    <a:pt x="95" y="267"/>
                    <a:pt x="95" y="267"/>
                  </a:cubicBezTo>
                  <a:cubicBezTo>
                    <a:pt x="104" y="274"/>
                    <a:pt x="115" y="278"/>
                    <a:pt x="128" y="278"/>
                  </a:cubicBezTo>
                  <a:cubicBezTo>
                    <a:pt x="224" y="278"/>
                    <a:pt x="224" y="278"/>
                    <a:pt x="224" y="278"/>
                  </a:cubicBezTo>
                  <a:cubicBezTo>
                    <a:pt x="244" y="278"/>
                    <a:pt x="261" y="271"/>
                    <a:pt x="274" y="256"/>
                  </a:cubicBezTo>
                  <a:cubicBezTo>
                    <a:pt x="304" y="223"/>
                    <a:pt x="299" y="162"/>
                    <a:pt x="298" y="160"/>
                  </a:cubicBezTo>
                  <a:close/>
                  <a:moveTo>
                    <a:pt x="21" y="150"/>
                  </a:moveTo>
                  <a:cubicBezTo>
                    <a:pt x="74" y="150"/>
                    <a:pt x="74" y="150"/>
                    <a:pt x="74" y="150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74" y="224"/>
                    <a:pt x="74" y="224"/>
                    <a:pt x="74" y="224"/>
                  </a:cubicBezTo>
                  <a:cubicBezTo>
                    <a:pt x="74" y="232"/>
                    <a:pt x="76" y="239"/>
                    <a:pt x="78" y="246"/>
                  </a:cubicBezTo>
                  <a:cubicBezTo>
                    <a:pt x="21" y="246"/>
                    <a:pt x="21" y="246"/>
                    <a:pt x="21" y="246"/>
                  </a:cubicBezTo>
                  <a:lnTo>
                    <a:pt x="21" y="150"/>
                  </a:lnTo>
                  <a:close/>
                  <a:moveTo>
                    <a:pt x="258" y="242"/>
                  </a:moveTo>
                  <a:cubicBezTo>
                    <a:pt x="250" y="252"/>
                    <a:pt x="238" y="256"/>
                    <a:pt x="224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09" y="256"/>
                    <a:pt x="96" y="243"/>
                    <a:pt x="96" y="224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42"/>
                    <a:pt x="99" y="134"/>
                    <a:pt x="104" y="127"/>
                  </a:cubicBezTo>
                  <a:cubicBezTo>
                    <a:pt x="105" y="127"/>
                    <a:pt x="105" y="127"/>
                    <a:pt x="105" y="127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2" y="32"/>
                    <a:pt x="193" y="36"/>
                    <a:pt x="192" y="40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4"/>
                    <a:pt x="171" y="104"/>
                    <a:pt x="171" y="104"/>
                  </a:cubicBezTo>
                  <a:cubicBezTo>
                    <a:pt x="171" y="105"/>
                    <a:pt x="170" y="106"/>
                    <a:pt x="170" y="107"/>
                  </a:cubicBezTo>
                  <a:cubicBezTo>
                    <a:pt x="170" y="113"/>
                    <a:pt x="175" y="118"/>
                    <a:pt x="181" y="118"/>
                  </a:cubicBezTo>
                  <a:cubicBezTo>
                    <a:pt x="234" y="118"/>
                    <a:pt x="234" y="118"/>
                    <a:pt x="234" y="118"/>
                  </a:cubicBezTo>
                  <a:cubicBezTo>
                    <a:pt x="253" y="118"/>
                    <a:pt x="277" y="141"/>
                    <a:pt x="277" y="161"/>
                  </a:cubicBezTo>
                  <a:cubicBezTo>
                    <a:pt x="277" y="162"/>
                    <a:pt x="282" y="216"/>
                    <a:pt x="258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75787B"/>
                </a:solidFill>
              </a:endParaRPr>
            </a:p>
          </p:txBody>
        </p:sp>
        <p:sp>
          <p:nvSpPr>
            <p:cNvPr id="30" name="Freeform 580"/>
            <p:cNvSpPr>
              <a:spLocks noEditPoints="1"/>
            </p:cNvSpPr>
            <p:nvPr/>
          </p:nvSpPr>
          <p:spPr bwMode="auto">
            <a:xfrm>
              <a:off x="1932" y="247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75787B"/>
                </a:solidFill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>
            <a:off x="1261361" y="2194144"/>
            <a:ext cx="15870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AR" sz="1600" b="1" dirty="0" smtClean="0">
                <a:solidFill>
                  <a:srgbClr val="6FC2B4"/>
                </a:solidFill>
              </a:rPr>
              <a:t>Estrategia</a:t>
            </a:r>
            <a:endParaRPr lang="es-AR" sz="1600" b="1" dirty="0">
              <a:solidFill>
                <a:srgbClr val="6FC2B4"/>
              </a:solidFill>
            </a:endParaRPr>
          </a:p>
        </p:txBody>
      </p:sp>
      <p:grpSp>
        <p:nvGrpSpPr>
          <p:cNvPr id="16" name="Group 541"/>
          <p:cNvGrpSpPr>
            <a:grpSpLocks noChangeAspect="1"/>
          </p:cNvGrpSpPr>
          <p:nvPr/>
        </p:nvGrpSpPr>
        <p:grpSpPr bwMode="auto">
          <a:xfrm>
            <a:off x="346941" y="1986006"/>
            <a:ext cx="832065" cy="832065"/>
            <a:chOff x="5326" y="2494"/>
            <a:chExt cx="340" cy="340"/>
          </a:xfrm>
          <a:solidFill>
            <a:schemeClr val="accent5">
              <a:lumMod val="75000"/>
            </a:schemeClr>
          </a:solidFill>
        </p:grpSpPr>
        <p:sp>
          <p:nvSpPr>
            <p:cNvPr id="17" name="Freeform 542"/>
            <p:cNvSpPr>
              <a:spLocks noEditPoints="1"/>
            </p:cNvSpPr>
            <p:nvPr/>
          </p:nvSpPr>
          <p:spPr bwMode="auto">
            <a:xfrm>
              <a:off x="5430" y="2558"/>
              <a:ext cx="132" cy="212"/>
            </a:xfrm>
            <a:custGeom>
              <a:avLst/>
              <a:gdLst>
                <a:gd name="T0" fmla="*/ 99 w 199"/>
                <a:gd name="T1" fmla="*/ 0 h 320"/>
                <a:gd name="T2" fmla="*/ 99 w 199"/>
                <a:gd name="T3" fmla="*/ 0 h 320"/>
                <a:gd name="T4" fmla="*/ 99 w 199"/>
                <a:gd name="T5" fmla="*/ 0 h 320"/>
                <a:gd name="T6" fmla="*/ 99 w 199"/>
                <a:gd name="T7" fmla="*/ 0 h 320"/>
                <a:gd name="T8" fmla="*/ 98 w 199"/>
                <a:gd name="T9" fmla="*/ 0 h 320"/>
                <a:gd name="T10" fmla="*/ 0 w 199"/>
                <a:gd name="T11" fmla="*/ 95 h 320"/>
                <a:gd name="T12" fmla="*/ 19 w 199"/>
                <a:gd name="T13" fmla="*/ 158 h 320"/>
                <a:gd name="T14" fmla="*/ 45 w 199"/>
                <a:gd name="T15" fmla="*/ 213 h 320"/>
                <a:gd name="T16" fmla="*/ 45 w 199"/>
                <a:gd name="T17" fmla="*/ 245 h 320"/>
                <a:gd name="T18" fmla="*/ 46 w 199"/>
                <a:gd name="T19" fmla="*/ 246 h 320"/>
                <a:gd name="T20" fmla="*/ 45 w 199"/>
                <a:gd name="T21" fmla="*/ 247 h 320"/>
                <a:gd name="T22" fmla="*/ 56 w 199"/>
                <a:gd name="T23" fmla="*/ 311 h 320"/>
                <a:gd name="T24" fmla="*/ 67 w 199"/>
                <a:gd name="T25" fmla="*/ 320 h 320"/>
                <a:gd name="T26" fmla="*/ 131 w 199"/>
                <a:gd name="T27" fmla="*/ 320 h 320"/>
                <a:gd name="T28" fmla="*/ 141 w 199"/>
                <a:gd name="T29" fmla="*/ 311 h 320"/>
                <a:gd name="T30" fmla="*/ 152 w 199"/>
                <a:gd name="T31" fmla="*/ 247 h 320"/>
                <a:gd name="T32" fmla="*/ 152 w 199"/>
                <a:gd name="T33" fmla="*/ 246 h 320"/>
                <a:gd name="T34" fmla="*/ 152 w 199"/>
                <a:gd name="T35" fmla="*/ 245 h 320"/>
                <a:gd name="T36" fmla="*/ 152 w 199"/>
                <a:gd name="T37" fmla="*/ 213 h 320"/>
                <a:gd name="T38" fmla="*/ 179 w 199"/>
                <a:gd name="T39" fmla="*/ 158 h 320"/>
                <a:gd name="T40" fmla="*/ 199 w 199"/>
                <a:gd name="T41" fmla="*/ 95 h 320"/>
                <a:gd name="T42" fmla="*/ 99 w 199"/>
                <a:gd name="T43" fmla="*/ 0 h 320"/>
                <a:gd name="T44" fmla="*/ 122 w 199"/>
                <a:gd name="T45" fmla="*/ 298 h 320"/>
                <a:gd name="T46" fmla="*/ 76 w 199"/>
                <a:gd name="T47" fmla="*/ 298 h 320"/>
                <a:gd name="T48" fmla="*/ 69 w 199"/>
                <a:gd name="T49" fmla="*/ 256 h 320"/>
                <a:gd name="T50" fmla="*/ 129 w 199"/>
                <a:gd name="T51" fmla="*/ 256 h 320"/>
                <a:gd name="T52" fmla="*/ 122 w 199"/>
                <a:gd name="T53" fmla="*/ 298 h 320"/>
                <a:gd name="T54" fmla="*/ 161 w 199"/>
                <a:gd name="T55" fmla="*/ 147 h 320"/>
                <a:gd name="T56" fmla="*/ 131 w 199"/>
                <a:gd name="T57" fmla="*/ 213 h 320"/>
                <a:gd name="T58" fmla="*/ 131 w 199"/>
                <a:gd name="T59" fmla="*/ 234 h 320"/>
                <a:gd name="T60" fmla="*/ 109 w 199"/>
                <a:gd name="T61" fmla="*/ 234 h 320"/>
                <a:gd name="T62" fmla="*/ 109 w 199"/>
                <a:gd name="T63" fmla="*/ 153 h 320"/>
                <a:gd name="T64" fmla="*/ 128 w 199"/>
                <a:gd name="T65" fmla="*/ 135 h 320"/>
                <a:gd name="T66" fmla="*/ 128 w 199"/>
                <a:gd name="T67" fmla="*/ 120 h 320"/>
                <a:gd name="T68" fmla="*/ 112 w 199"/>
                <a:gd name="T69" fmla="*/ 120 h 320"/>
                <a:gd name="T70" fmla="*/ 99 w 199"/>
                <a:gd name="T71" fmla="*/ 134 h 320"/>
                <a:gd name="T72" fmla="*/ 85 w 199"/>
                <a:gd name="T73" fmla="*/ 120 h 320"/>
                <a:gd name="T74" fmla="*/ 70 w 199"/>
                <a:gd name="T75" fmla="*/ 120 h 320"/>
                <a:gd name="T76" fmla="*/ 70 w 199"/>
                <a:gd name="T77" fmla="*/ 135 h 320"/>
                <a:gd name="T78" fmla="*/ 88 w 199"/>
                <a:gd name="T79" fmla="*/ 153 h 320"/>
                <a:gd name="T80" fmla="*/ 88 w 199"/>
                <a:gd name="T81" fmla="*/ 234 h 320"/>
                <a:gd name="T82" fmla="*/ 67 w 199"/>
                <a:gd name="T83" fmla="*/ 234 h 320"/>
                <a:gd name="T84" fmla="*/ 67 w 199"/>
                <a:gd name="T85" fmla="*/ 213 h 320"/>
                <a:gd name="T86" fmla="*/ 37 w 199"/>
                <a:gd name="T87" fmla="*/ 146 h 320"/>
                <a:gd name="T88" fmla="*/ 21 w 199"/>
                <a:gd name="T89" fmla="*/ 95 h 320"/>
                <a:gd name="T90" fmla="*/ 99 w 199"/>
                <a:gd name="T91" fmla="*/ 21 h 320"/>
                <a:gd name="T92" fmla="*/ 177 w 199"/>
                <a:gd name="T93" fmla="*/ 95 h 320"/>
                <a:gd name="T94" fmla="*/ 161 w 199"/>
                <a:gd name="T95" fmla="*/ 14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320">
                  <a:moveTo>
                    <a:pt x="99" y="0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45" y="0"/>
                    <a:pt x="0" y="44"/>
                    <a:pt x="0" y="95"/>
                  </a:cubicBezTo>
                  <a:cubicBezTo>
                    <a:pt x="0" y="129"/>
                    <a:pt x="18" y="157"/>
                    <a:pt x="19" y="158"/>
                  </a:cubicBezTo>
                  <a:cubicBezTo>
                    <a:pt x="32" y="179"/>
                    <a:pt x="45" y="206"/>
                    <a:pt x="45" y="213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45" y="246"/>
                    <a:pt x="46" y="246"/>
                  </a:cubicBezTo>
                  <a:cubicBezTo>
                    <a:pt x="46" y="246"/>
                    <a:pt x="45" y="246"/>
                    <a:pt x="45" y="247"/>
                  </a:cubicBezTo>
                  <a:cubicBezTo>
                    <a:pt x="56" y="311"/>
                    <a:pt x="56" y="311"/>
                    <a:pt x="56" y="311"/>
                  </a:cubicBezTo>
                  <a:cubicBezTo>
                    <a:pt x="57" y="316"/>
                    <a:pt x="61" y="320"/>
                    <a:pt x="67" y="320"/>
                  </a:cubicBezTo>
                  <a:cubicBezTo>
                    <a:pt x="131" y="320"/>
                    <a:pt x="131" y="320"/>
                    <a:pt x="131" y="320"/>
                  </a:cubicBezTo>
                  <a:cubicBezTo>
                    <a:pt x="136" y="320"/>
                    <a:pt x="140" y="316"/>
                    <a:pt x="141" y="311"/>
                  </a:cubicBezTo>
                  <a:cubicBezTo>
                    <a:pt x="152" y="247"/>
                    <a:pt x="152" y="247"/>
                    <a:pt x="152" y="247"/>
                  </a:cubicBezTo>
                  <a:cubicBezTo>
                    <a:pt x="152" y="246"/>
                    <a:pt x="152" y="246"/>
                    <a:pt x="152" y="246"/>
                  </a:cubicBezTo>
                  <a:cubicBezTo>
                    <a:pt x="152" y="246"/>
                    <a:pt x="152" y="245"/>
                    <a:pt x="152" y="245"/>
                  </a:cubicBezTo>
                  <a:cubicBezTo>
                    <a:pt x="152" y="213"/>
                    <a:pt x="152" y="213"/>
                    <a:pt x="152" y="213"/>
                  </a:cubicBezTo>
                  <a:cubicBezTo>
                    <a:pt x="152" y="206"/>
                    <a:pt x="166" y="179"/>
                    <a:pt x="179" y="158"/>
                  </a:cubicBezTo>
                  <a:cubicBezTo>
                    <a:pt x="180" y="157"/>
                    <a:pt x="199" y="129"/>
                    <a:pt x="199" y="95"/>
                  </a:cubicBezTo>
                  <a:cubicBezTo>
                    <a:pt x="199" y="44"/>
                    <a:pt x="153" y="0"/>
                    <a:pt x="99" y="0"/>
                  </a:cubicBezTo>
                  <a:close/>
                  <a:moveTo>
                    <a:pt x="122" y="298"/>
                  </a:moveTo>
                  <a:cubicBezTo>
                    <a:pt x="76" y="298"/>
                    <a:pt x="76" y="298"/>
                    <a:pt x="76" y="298"/>
                  </a:cubicBezTo>
                  <a:cubicBezTo>
                    <a:pt x="69" y="256"/>
                    <a:pt x="69" y="256"/>
                    <a:pt x="69" y="256"/>
                  </a:cubicBezTo>
                  <a:cubicBezTo>
                    <a:pt x="129" y="256"/>
                    <a:pt x="129" y="256"/>
                    <a:pt x="129" y="256"/>
                  </a:cubicBezTo>
                  <a:lnTo>
                    <a:pt x="122" y="298"/>
                  </a:lnTo>
                  <a:close/>
                  <a:moveTo>
                    <a:pt x="161" y="147"/>
                  </a:moveTo>
                  <a:cubicBezTo>
                    <a:pt x="154" y="158"/>
                    <a:pt x="131" y="196"/>
                    <a:pt x="131" y="21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09" y="234"/>
                    <a:pt x="109" y="234"/>
                    <a:pt x="109" y="23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32" y="131"/>
                    <a:pt x="132" y="124"/>
                    <a:pt x="128" y="120"/>
                  </a:cubicBezTo>
                  <a:cubicBezTo>
                    <a:pt x="123" y="116"/>
                    <a:pt x="117" y="116"/>
                    <a:pt x="112" y="120"/>
                  </a:cubicBezTo>
                  <a:cubicBezTo>
                    <a:pt x="99" y="134"/>
                    <a:pt x="99" y="134"/>
                    <a:pt x="99" y="134"/>
                  </a:cubicBezTo>
                  <a:cubicBezTo>
                    <a:pt x="85" y="120"/>
                    <a:pt x="85" y="120"/>
                    <a:pt x="85" y="120"/>
                  </a:cubicBezTo>
                  <a:cubicBezTo>
                    <a:pt x="81" y="116"/>
                    <a:pt x="74" y="116"/>
                    <a:pt x="70" y="120"/>
                  </a:cubicBezTo>
                  <a:cubicBezTo>
                    <a:pt x="66" y="124"/>
                    <a:pt x="66" y="131"/>
                    <a:pt x="70" y="135"/>
                  </a:cubicBezTo>
                  <a:cubicBezTo>
                    <a:pt x="88" y="153"/>
                    <a:pt x="88" y="153"/>
                    <a:pt x="88" y="153"/>
                  </a:cubicBezTo>
                  <a:cubicBezTo>
                    <a:pt x="88" y="234"/>
                    <a:pt x="88" y="234"/>
                    <a:pt x="88" y="234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7" y="196"/>
                    <a:pt x="44" y="158"/>
                    <a:pt x="37" y="146"/>
                  </a:cubicBezTo>
                  <a:cubicBezTo>
                    <a:pt x="37" y="146"/>
                    <a:pt x="21" y="123"/>
                    <a:pt x="21" y="95"/>
                  </a:cubicBezTo>
                  <a:cubicBezTo>
                    <a:pt x="21" y="55"/>
                    <a:pt x="57" y="21"/>
                    <a:pt x="99" y="21"/>
                  </a:cubicBezTo>
                  <a:cubicBezTo>
                    <a:pt x="141" y="21"/>
                    <a:pt x="177" y="55"/>
                    <a:pt x="177" y="95"/>
                  </a:cubicBezTo>
                  <a:cubicBezTo>
                    <a:pt x="177" y="122"/>
                    <a:pt x="161" y="146"/>
                    <a:pt x="161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543"/>
            <p:cNvSpPr>
              <a:spLocks noEditPoints="1"/>
            </p:cNvSpPr>
            <p:nvPr/>
          </p:nvSpPr>
          <p:spPr bwMode="auto">
            <a:xfrm>
              <a:off x="5326" y="249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105793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3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D9D60A4-7FEF-4394-BC40-395386A52B23}" vid="{30850DB0-321B-45CC-986F-67B0BBFB8D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1002BA2FF70448EB3E36FDAF4D015" ma:contentTypeVersion="" ma:contentTypeDescription="Create a new document." ma:contentTypeScope="" ma:versionID="b99c5741b285016d4be29e62fb9c2fb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2384c6cc0088fcedbaf6edaf557def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CE845C-ED99-4242-8577-1BB7988A9317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62049F7-EB82-45EE-865E-7DB1A77AEC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ECEF3C4-93B2-4A3A-9682-DDD78EE6C7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93</TotalTime>
  <Words>44</Words>
  <Application>Microsoft Office PowerPoint</Application>
  <PresentationFormat>Widescreen</PresentationFormat>
  <Paragraphs>24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Open Sans</vt:lpstr>
      <vt:lpstr>Verdana</vt:lpstr>
      <vt:lpstr>Deloitte_US_Onscreen</vt:lpstr>
      <vt:lpstr>think-cell Slide</vt:lpstr>
      <vt:lpstr>PowerPoint Presentation</vt:lpstr>
      <vt:lpstr>Visualización</vt:lpstr>
      <vt:lpstr>Fuentes de Datos</vt:lpstr>
      <vt:lpstr>Hoja de ruta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kus, Nancy (US - Pittsburgh)</dc:creator>
  <cp:lastModifiedBy>Casalins, Alvaro (LATCO - Buenos Aires)</cp:lastModifiedBy>
  <cp:revision>219</cp:revision>
  <cp:lastPrinted>2017-05-04T22:14:21Z</cp:lastPrinted>
  <dcterms:created xsi:type="dcterms:W3CDTF">2017-01-31T22:38:43Z</dcterms:created>
  <dcterms:modified xsi:type="dcterms:W3CDTF">2017-06-14T01:3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EB1002BA2FF70448EB3E36FDAF4D015</vt:lpwstr>
  </property>
</Properties>
</file>